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slideLayouts/slideLayout2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slideLayouts/slideLayout3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4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slideLayouts/slideLayout12.xml" ContentType="application/vnd.openxmlformats-officedocument.presentationml.slideLayout+xml"/>
  <Override PartName="/ppt/theme/theme5.xml" ContentType="application/vnd.openxmlformats-officedocument.theme+xml"/>
  <Override PartName="/ppt/tags/tag13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6.xml" ContentType="application/vnd.openxmlformats-officedocument.them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slideLayouts/slideLayout21.xml" ContentType="application/vnd.openxmlformats-officedocument.presentationml.slideLayout+xml"/>
  <Override PartName="/ppt/theme/theme7.xml" ContentType="application/vnd.openxmlformats-officedocument.theme+xml"/>
  <Override PartName="/ppt/tags/tag22.xml" ContentType="application/vnd.openxmlformats-officedocument.presentationml.tags+xml"/>
  <Override PartName="/ppt/slideLayouts/slideLayout22.xml" ContentType="application/vnd.openxmlformats-officedocument.presentationml.slideLayout+xml"/>
  <Override PartName="/ppt/theme/theme8.xml" ContentType="application/vnd.openxmlformats-officedocument.theme+xml"/>
  <Override PartName="/ppt/tags/tag23.xml" ContentType="application/vnd.openxmlformats-officedocument.presentationml.tags+xml"/>
  <Override PartName="/ppt/slideLayouts/slideLayout23.xml" ContentType="application/vnd.openxmlformats-officedocument.presentationml.slideLayout+xml"/>
  <Override PartName="/ppt/theme/theme9.xml" ContentType="application/vnd.openxmlformats-officedocument.theme+xml"/>
  <Override PartName="/ppt/tags/tag24.xml" ContentType="application/vnd.openxmlformats-officedocument.presentationml.tags+xml"/>
  <Override PartName="/ppt/slideLayouts/slideLayout24.xml" ContentType="application/vnd.openxmlformats-officedocument.presentationml.slideLayout+xml"/>
  <Override PartName="/ppt/theme/theme10.xml" ContentType="application/vnd.openxmlformats-officedocument.theme+xml"/>
  <Override PartName="/ppt/tags/tag25.xml" ContentType="application/vnd.openxmlformats-officedocument.presentationml.tags+xml"/>
  <Override PartName="/ppt/slideLayouts/slideLayout25.xml" ContentType="application/vnd.openxmlformats-officedocument.presentationml.slideLayout+xml"/>
  <Override PartName="/ppt/theme/theme11.xml" ContentType="application/vnd.openxmlformats-officedocument.theme+xml"/>
  <Override PartName="/ppt/tags/tag26.xml" ContentType="application/vnd.openxmlformats-officedocument.presentationml.tags+xml"/>
  <Override PartName="/ppt/theme/theme12.xml" ContentType="application/vnd.openxmlformats-officedocument.theme+xml"/>
  <Override PartName="/ppt/tags/tag2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17" r:id="rId1"/>
    <p:sldMasterId id="2147483719" r:id="rId2"/>
    <p:sldMasterId id="2147483721" r:id="rId3"/>
    <p:sldMasterId id="2147483699" r:id="rId4"/>
    <p:sldMasterId id="2147483725" r:id="rId5"/>
    <p:sldMasterId id="2147483708" r:id="rId6"/>
    <p:sldMasterId id="2147483696" r:id="rId7"/>
    <p:sldMasterId id="2147483687" r:id="rId8"/>
    <p:sldMasterId id="2147483675" r:id="rId9"/>
    <p:sldMasterId id="2147483735" r:id="rId10"/>
    <p:sldMasterId id="2147483776" r:id="rId11"/>
  </p:sldMasterIdLst>
  <p:notesMasterIdLst>
    <p:notesMasterId r:id="rId18"/>
  </p:notesMasterIdLst>
  <p:sldIdLst>
    <p:sldId id="4453" r:id="rId12"/>
    <p:sldId id="5769" r:id="rId13"/>
    <p:sldId id="5750" r:id="rId14"/>
    <p:sldId id="586" r:id="rId15"/>
    <p:sldId id="4463" r:id="rId16"/>
    <p:sldId id="5772" r:id="rId17"/>
  </p:sldIdLst>
  <p:sldSz cx="20104100" cy="11309350"/>
  <p:notesSz cx="6797675" cy="9926638"/>
  <p:custDataLst>
    <p:tags r:id="rId19"/>
  </p:custDataLst>
  <p:defaultTextStyle>
    <a:defPPr>
      <a:defRPr lang="it-IT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87187"/>
    <a:srgbClr val="595959"/>
    <a:srgbClr val="CCCCCC"/>
    <a:srgbClr val="42444A"/>
    <a:srgbClr val="767B66"/>
    <a:srgbClr val="E5E5E5"/>
    <a:srgbClr val="6F778C"/>
    <a:srgbClr val="B3B1B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Srednji slog 2 – poudarek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94"/>
  </p:normalViewPr>
  <p:slideViewPr>
    <p:cSldViewPr>
      <p:cViewPr varScale="1">
        <p:scale>
          <a:sx n="68" d="100"/>
          <a:sy n="68" d="100"/>
        </p:scale>
        <p:origin x="546" y="132"/>
      </p:cViewPr>
      <p:guideLst>
        <p:guide orient="horz" pos="2880"/>
        <p:guide pos="216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" Target="slides/slide2.xml"/><Relationship Id="rId18" Type="http://schemas.openxmlformats.org/officeDocument/2006/relationships/notesMaster" Target="notesMasters/notesMaster1.xml"/><Relationship Id="rId3" Type="http://schemas.openxmlformats.org/officeDocument/2006/relationships/slideMaster" Target="slideMasters/slideMaster3.xml"/><Relationship Id="rId21" Type="http://schemas.openxmlformats.org/officeDocument/2006/relationships/viewProps" Target="viewProps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1.xml"/><Relationship Id="rId17" Type="http://schemas.openxmlformats.org/officeDocument/2006/relationships/slide" Target="slides/slide6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5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4.xml"/><Relationship Id="rId23" Type="http://schemas.openxmlformats.org/officeDocument/2006/relationships/tableStyles" Target="tableStyles.xml"/><Relationship Id="rId10" Type="http://schemas.openxmlformats.org/officeDocument/2006/relationships/slideMaster" Target="slideMasters/slideMaster10.xml"/><Relationship Id="rId19" Type="http://schemas.openxmlformats.org/officeDocument/2006/relationships/tags" Target="tags/tag1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" Target="slides/slide3.xml"/><Relationship Id="rId22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3F9D530F-3E85-AE6F-9ED8-85F1A2F51921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48674" tIns="24337" rIns="48674" bIns="24337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600">
                <a:latin typeface="+mn-lt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6E587BC-992F-9B79-A3FB-4D170790F394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48674" tIns="24337" rIns="48674" bIns="24337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600" smtClean="0">
                <a:latin typeface="+mn-lt"/>
              </a:defRPr>
            </a:lvl1pPr>
          </a:lstStyle>
          <a:p>
            <a:pPr>
              <a:defRPr/>
            </a:pPr>
            <a:fld id="{D3975F8F-52B3-4BC1-A1A5-D2CCC8AC3075}" type="datetimeFigureOut">
              <a:rPr lang="en-GB"/>
              <a:pPr>
                <a:defRPr/>
              </a:pPr>
              <a:t>26/06/2024</a:t>
            </a:fld>
            <a:endParaRPr lang="en-GB"/>
          </a:p>
        </p:txBody>
      </p:sp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969B00EA-9496-5831-4867-CF68957A8FE3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48674" tIns="24337" rIns="48674" bIns="24337" rtlCol="0" anchor="ctr"/>
          <a:lstStyle/>
          <a:p>
            <a:pPr lvl="0"/>
            <a:endParaRPr lang="en-GB" noProof="0"/>
          </a:p>
        </p:txBody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26E80DD8-2131-A2B6-BD12-1819BB99E71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79450" y="4776788"/>
            <a:ext cx="5438775" cy="3910012"/>
          </a:xfrm>
          <a:prstGeom prst="rect">
            <a:avLst/>
          </a:prstGeom>
        </p:spPr>
        <p:txBody>
          <a:bodyPr vert="horz" lIns="48674" tIns="24337" rIns="48674" bIns="24337" rtlCol="0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D561C9B-9C46-6E29-A1B6-64D5C0317FDE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48674" tIns="24337" rIns="48674" bIns="24337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600">
                <a:latin typeface="+mn-lt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C41517B-C61B-91A0-D3CD-FFEAFDC8F63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48674" tIns="24337" rIns="48674" bIns="24337" rtlCol="0" anchor="b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600" smtClean="0">
                <a:latin typeface="+mn-lt"/>
              </a:defRPr>
            </a:lvl1pPr>
          </a:lstStyle>
          <a:p>
            <a:pPr>
              <a:defRPr/>
            </a:pPr>
            <a:fld id="{F1708727-8FA1-4FA0-A74E-B220B34CA6D8}" type="slidenum">
              <a:rPr lang="en-GB"/>
              <a:pPr>
                <a:defRPr/>
              </a:pPr>
              <a:t>‹Nº›</a:t>
            </a:fld>
            <a:endParaRPr lang="en-GB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17.xml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19.xml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egnaposto testo 4"/>
          <p:cNvSpPr>
            <a:spLocks noGrp="1"/>
          </p:cNvSpPr>
          <p:nvPr>
            <p:ph type="body" sz="quarter" idx="11"/>
          </p:nvPr>
        </p:nvSpPr>
        <p:spPr>
          <a:xfrm>
            <a:off x="679451" y="583899"/>
            <a:ext cx="1676400" cy="400110"/>
          </a:xfrm>
        </p:spPr>
        <p:txBody>
          <a:bodyPr anchor="ctr"/>
          <a:lstStyle>
            <a:lvl1pPr>
              <a:defRPr sz="2600" b="1" i="0" spc="300">
                <a:solidFill>
                  <a:schemeClr val="bg1"/>
                </a:solidFill>
                <a:latin typeface="Helvetica" pitchFamily="2" charset="0"/>
              </a:defRPr>
            </a:lvl1pPr>
          </a:lstStyle>
          <a:p>
            <a:pPr lvl="0"/>
            <a:r>
              <a:rPr lang="sl-SI"/>
              <a:t>Kliknite za urejanje slogov besedila matrice</a:t>
            </a:r>
          </a:p>
        </p:txBody>
      </p:sp>
      <p:sp>
        <p:nvSpPr>
          <p:cNvPr id="7" name="Segnaposto testo 4"/>
          <p:cNvSpPr>
            <a:spLocks noGrp="1"/>
          </p:cNvSpPr>
          <p:nvPr>
            <p:ph type="body" sz="quarter" idx="13"/>
          </p:nvPr>
        </p:nvSpPr>
        <p:spPr>
          <a:xfrm>
            <a:off x="2436813" y="549275"/>
            <a:ext cx="8986837" cy="469359"/>
          </a:xfrm>
        </p:spPr>
        <p:txBody>
          <a:bodyPr anchor="ctr"/>
          <a:lstStyle>
            <a:lvl1pPr>
              <a:defRPr sz="3050" b="0" i="0" spc="0">
                <a:solidFill>
                  <a:schemeClr val="bg1"/>
                </a:solidFill>
                <a:latin typeface="Helvetica Light" panose="020B0403020202020204" pitchFamily="34" charset="0"/>
              </a:defRPr>
            </a:lvl1pPr>
          </a:lstStyle>
          <a:p>
            <a:pPr lvl="0"/>
            <a:r>
              <a:rPr lang="sl-SI"/>
              <a:t>Kliknite za urejanje slogov besedila matrice</a:t>
            </a:r>
          </a:p>
        </p:txBody>
      </p:sp>
    </p:spTree>
    <p:extLst>
      <p:ext uri="{BB962C8B-B14F-4D97-AF65-F5344CB8AC3E}">
        <p14:creationId xmlns:p14="http://schemas.microsoft.com/office/powerpoint/2010/main" val="210832522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Predmet 1" hidden="1">
            <a:extLst>
              <a:ext uri="{FF2B5EF4-FFF2-40B4-BE49-F238E27FC236}">
                <a16:creationId xmlns:a16="http://schemas.microsoft.com/office/drawing/2014/main" id="{020FA4A1-0B5B-BFF5-A274-75FEAF7FDAE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2" name="Predmet 1" hidden="1">
                        <a:extLst>
                          <a:ext uri="{FF2B5EF4-FFF2-40B4-BE49-F238E27FC236}">
                            <a16:creationId xmlns:a16="http://schemas.microsoft.com/office/drawing/2014/main" id="{020FA4A1-0B5B-BFF5-A274-75FEAF7FDAE0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bg object 16">
            <a:extLst>
              <a:ext uri="{FF2B5EF4-FFF2-40B4-BE49-F238E27FC236}">
                <a16:creationId xmlns:a16="http://schemas.microsoft.com/office/drawing/2014/main" id="{0DD81DFA-069F-F2A8-1965-73705D5BAF87}"/>
              </a:ext>
            </a:extLst>
          </p:cNvPr>
          <p:cNvSpPr>
            <a:spLocks/>
          </p:cNvSpPr>
          <p:nvPr userDrawn="1"/>
        </p:nvSpPr>
        <p:spPr bwMode="auto">
          <a:xfrm>
            <a:off x="0" y="0"/>
            <a:ext cx="20104100" cy="1546225"/>
          </a:xfrm>
          <a:custGeom>
            <a:avLst/>
            <a:gdLst>
              <a:gd name="T0" fmla="*/ 0 w 20104100"/>
              <a:gd name="T1" fmla="*/ 1530592 h 1530985"/>
              <a:gd name="T2" fmla="*/ 20104099 w 20104100"/>
              <a:gd name="T3" fmla="*/ 1530592 h 1530985"/>
              <a:gd name="T4" fmla="*/ 20104099 w 20104100"/>
              <a:gd name="T5" fmla="*/ 0 h 1530985"/>
              <a:gd name="T6" fmla="*/ 0 w 20104100"/>
              <a:gd name="T7" fmla="*/ 0 h 1530985"/>
              <a:gd name="T8" fmla="*/ 0 w 20104100"/>
              <a:gd name="T9" fmla="*/ 1530592 h 15309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0104100" h="1530985">
                <a:moveTo>
                  <a:pt x="0" y="1530592"/>
                </a:moveTo>
                <a:lnTo>
                  <a:pt x="20104099" y="1530592"/>
                </a:lnTo>
                <a:lnTo>
                  <a:pt x="20104099" y="0"/>
                </a:lnTo>
                <a:lnTo>
                  <a:pt x="0" y="0"/>
                </a:lnTo>
                <a:lnTo>
                  <a:pt x="0" y="1530592"/>
                </a:lnTo>
                <a:close/>
              </a:path>
            </a:pathLst>
          </a:custGeom>
          <a:solidFill>
            <a:srgbClr val="6F778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en-AU"/>
          </a:p>
        </p:txBody>
      </p:sp>
      <p:sp>
        <p:nvSpPr>
          <p:cNvPr id="4" name="Holder 2">
            <a:extLst>
              <a:ext uri="{FF2B5EF4-FFF2-40B4-BE49-F238E27FC236}">
                <a16:creationId xmlns:a16="http://schemas.microsoft.com/office/drawing/2014/main" id="{BC44D47D-6F93-12CA-D1DA-1A1A4E0D24CB}"/>
              </a:ext>
            </a:extLst>
          </p:cNvPr>
          <p:cNvSpPr txBox="1">
            <a:spLocks/>
          </p:cNvSpPr>
          <p:nvPr userDrawn="1"/>
        </p:nvSpPr>
        <p:spPr>
          <a:xfrm>
            <a:off x="3346450" y="606425"/>
            <a:ext cx="10163175" cy="400050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>
            <a:lvl1pPr>
              <a:defRPr sz="2600" b="1" i="0">
                <a:solidFill>
                  <a:schemeClr val="bg1"/>
                </a:solidFill>
                <a:latin typeface="Helvetica" pitchFamily="2" charset="0"/>
                <a:ea typeface="+mj-ea"/>
                <a:cs typeface="Helvetica Neue"/>
              </a:defRPr>
            </a:lvl1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it-IT" b="0" kern="0" spc="300" dirty="0">
                <a:latin typeface="Helvetica Light" panose="020B0403020202020204" pitchFamily="34" charset="0"/>
              </a:rPr>
              <a:t>COLLECTION</a:t>
            </a:r>
          </a:p>
        </p:txBody>
      </p:sp>
      <p:sp>
        <p:nvSpPr>
          <p:cNvPr id="5" name="Holder 2">
            <a:extLst>
              <a:ext uri="{FF2B5EF4-FFF2-40B4-BE49-F238E27FC236}">
                <a16:creationId xmlns:a16="http://schemas.microsoft.com/office/drawing/2014/main" id="{D4C5D0B3-13E8-CAC6-0943-9F2FADFCAAAF}"/>
              </a:ext>
            </a:extLst>
          </p:cNvPr>
          <p:cNvSpPr txBox="1">
            <a:spLocks/>
          </p:cNvSpPr>
          <p:nvPr userDrawn="1"/>
        </p:nvSpPr>
        <p:spPr>
          <a:xfrm>
            <a:off x="679450" y="606425"/>
            <a:ext cx="2667000" cy="400050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>
            <a:lvl1pPr>
              <a:defRPr sz="2600" b="1" i="0">
                <a:solidFill>
                  <a:schemeClr val="bg1"/>
                </a:solidFill>
                <a:latin typeface="Helvetica" pitchFamily="2" charset="0"/>
                <a:ea typeface="+mj-ea"/>
                <a:cs typeface="Helvetica Neue"/>
              </a:defRPr>
            </a:lvl1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it-IT" spc="600" dirty="0"/>
              <a:t>CARAVANS</a:t>
            </a:r>
            <a:endParaRPr lang="it-IT" kern="0" spc="600" dirty="0"/>
          </a:p>
        </p:txBody>
      </p:sp>
      <p:sp>
        <p:nvSpPr>
          <p:cNvPr id="7" name="object 2">
            <a:extLst>
              <a:ext uri="{FF2B5EF4-FFF2-40B4-BE49-F238E27FC236}">
                <a16:creationId xmlns:a16="http://schemas.microsoft.com/office/drawing/2014/main" id="{BED8A2C2-F76B-CE19-8D0E-D94C0CE18C2A}"/>
              </a:ext>
            </a:extLst>
          </p:cNvPr>
          <p:cNvSpPr>
            <a:spLocks/>
          </p:cNvSpPr>
          <p:nvPr userDrawn="1"/>
        </p:nvSpPr>
        <p:spPr bwMode="auto">
          <a:xfrm>
            <a:off x="16451263" y="663575"/>
            <a:ext cx="3090862" cy="254000"/>
          </a:xfrm>
          <a:custGeom>
            <a:avLst/>
            <a:gdLst>
              <a:gd name="T0" fmla="*/ 343852 w 3090544"/>
              <a:gd name="T1" fmla="*/ 175133 h 253365"/>
              <a:gd name="T2" fmla="*/ 293979 w 3090544"/>
              <a:gd name="T3" fmla="*/ 165417 h 253365"/>
              <a:gd name="T4" fmla="*/ 266420 w 3090544"/>
              <a:gd name="T5" fmla="*/ 207365 h 253365"/>
              <a:gd name="T6" fmla="*/ 293979 w 3090544"/>
              <a:gd name="T7" fmla="*/ 249301 h 253365"/>
              <a:gd name="T8" fmla="*/ 343852 w 3090544"/>
              <a:gd name="T9" fmla="*/ 239534 h 253365"/>
              <a:gd name="T10" fmla="*/ 622452 w 3090544"/>
              <a:gd name="T11" fmla="*/ 246989 h 253365"/>
              <a:gd name="T12" fmla="*/ 413931 w 3090544"/>
              <a:gd name="T13" fmla="*/ 7061 h 253365"/>
              <a:gd name="T14" fmla="*/ 75628 w 3090544"/>
              <a:gd name="T15" fmla="*/ 9728 h 253365"/>
              <a:gd name="T16" fmla="*/ 0 w 3090544"/>
              <a:gd name="T17" fmla="*/ 123494 h 253365"/>
              <a:gd name="T18" fmla="*/ 75628 w 3090544"/>
              <a:gd name="T19" fmla="*/ 237286 h 253365"/>
              <a:gd name="T20" fmla="*/ 238823 w 3090544"/>
              <a:gd name="T21" fmla="*/ 203530 h 253365"/>
              <a:gd name="T22" fmla="*/ 164350 w 3090544"/>
              <a:gd name="T23" fmla="*/ 153962 h 253365"/>
              <a:gd name="T24" fmla="*/ 181749 w 3090544"/>
              <a:gd name="T25" fmla="*/ 65608 h 253365"/>
              <a:gd name="T26" fmla="*/ 258483 w 3090544"/>
              <a:gd name="T27" fmla="*/ 44411 h 253365"/>
              <a:gd name="T28" fmla="*/ 303085 w 3090544"/>
              <a:gd name="T29" fmla="*/ 74142 h 253365"/>
              <a:gd name="T30" fmla="*/ 1268044 w 3090544"/>
              <a:gd name="T31" fmla="*/ 248894 h 253365"/>
              <a:gd name="T32" fmla="*/ 1146378 w 3090544"/>
              <a:gd name="T33" fmla="*/ 92595 h 253365"/>
              <a:gd name="T34" fmla="*/ 1023289 w 3090544"/>
              <a:gd name="T35" fmla="*/ 174459 h 253365"/>
              <a:gd name="T36" fmla="*/ 1023289 w 3090544"/>
              <a:gd name="T37" fmla="*/ 174459 h 253365"/>
              <a:gd name="T38" fmla="*/ 906818 w 3090544"/>
              <a:gd name="T39" fmla="*/ 52743 h 253365"/>
              <a:gd name="T40" fmla="*/ 864831 w 3090544"/>
              <a:gd name="T41" fmla="*/ 218249 h 253365"/>
              <a:gd name="T42" fmla="*/ 1268044 w 3090544"/>
              <a:gd name="T43" fmla="*/ 248894 h 253365"/>
              <a:gd name="T44" fmla="*/ 1706829 w 3090544"/>
              <a:gd name="T45" fmla="*/ 43764 h 253365"/>
              <a:gd name="T46" fmla="*/ 1585315 w 3090544"/>
              <a:gd name="T47" fmla="*/ 2298 h 253365"/>
              <a:gd name="T48" fmla="*/ 1564487 w 3090544"/>
              <a:gd name="T49" fmla="*/ 183870 h 253365"/>
              <a:gd name="T50" fmla="*/ 1458353 w 3090544"/>
              <a:gd name="T51" fmla="*/ 205105 h 253365"/>
              <a:gd name="T52" fmla="*/ 1538414 w 3090544"/>
              <a:gd name="T53" fmla="*/ 49377 h 253365"/>
              <a:gd name="T54" fmla="*/ 1585315 w 3090544"/>
              <a:gd name="T55" fmla="*/ 124942 h 253365"/>
              <a:gd name="T56" fmla="*/ 1301597 w 3090544"/>
              <a:gd name="T57" fmla="*/ 0 h 253365"/>
              <a:gd name="T58" fmla="*/ 1604314 w 3090544"/>
              <a:gd name="T59" fmla="*/ 245668 h 253365"/>
              <a:gd name="T60" fmla="*/ 1735251 w 3090544"/>
              <a:gd name="T61" fmla="*/ 164058 h 253365"/>
              <a:gd name="T62" fmla="*/ 2206523 w 3090544"/>
              <a:gd name="T63" fmla="*/ 157530 h 253365"/>
              <a:gd name="T64" fmla="*/ 2261095 w 3090544"/>
              <a:gd name="T65" fmla="*/ 106921 h 253365"/>
              <a:gd name="T66" fmla="*/ 2252942 w 3090544"/>
              <a:gd name="T67" fmla="*/ 43802 h 253365"/>
              <a:gd name="T68" fmla="*/ 2154047 w 3090544"/>
              <a:gd name="T69" fmla="*/ 0 h 253365"/>
              <a:gd name="T70" fmla="*/ 1977072 w 3090544"/>
              <a:gd name="T71" fmla="*/ 248894 h 253365"/>
              <a:gd name="T72" fmla="*/ 2073948 w 3090544"/>
              <a:gd name="T73" fmla="*/ 47777 h 253365"/>
              <a:gd name="T74" fmla="*/ 2104517 w 3090544"/>
              <a:gd name="T75" fmla="*/ 89331 h 253365"/>
              <a:gd name="T76" fmla="*/ 2063915 w 3090544"/>
              <a:gd name="T77" fmla="*/ 136613 h 253365"/>
              <a:gd name="T78" fmla="*/ 2081834 w 3090544"/>
              <a:gd name="T79" fmla="*/ 248894 h 253365"/>
              <a:gd name="T80" fmla="*/ 2366886 w 3090544"/>
              <a:gd name="T81" fmla="*/ 12 h 253365"/>
              <a:gd name="T82" fmla="*/ 2523629 w 3090544"/>
              <a:gd name="T83" fmla="*/ 12 h 253365"/>
              <a:gd name="T84" fmla="*/ 3032163 w 3090544"/>
              <a:gd name="T85" fmla="*/ 174459 h 253365"/>
              <a:gd name="T86" fmla="*/ 2845473 w 3090544"/>
              <a:gd name="T87" fmla="*/ 0 h 253365"/>
              <a:gd name="T88" fmla="*/ 2782201 w 3090544"/>
              <a:gd name="T89" fmla="*/ 92595 h 253365"/>
              <a:gd name="T90" fmla="*/ 2688132 w 3090544"/>
              <a:gd name="T91" fmla="*/ 0 h 253365"/>
              <a:gd name="T92" fmla="*/ 2661729 w 3090544"/>
              <a:gd name="T93" fmla="*/ 248894 h 253365"/>
              <a:gd name="T94" fmla="*/ 2902902 w 3090544"/>
              <a:gd name="T95" fmla="*/ 248894 h 25336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3090544" h="253365">
                <a:moveTo>
                  <a:pt x="357009" y="207365"/>
                </a:moveTo>
                <a:lnTo>
                  <a:pt x="353491" y="189585"/>
                </a:lnTo>
                <a:lnTo>
                  <a:pt x="343852" y="175133"/>
                </a:lnTo>
                <a:lnTo>
                  <a:pt x="329476" y="165417"/>
                </a:lnTo>
                <a:lnTo>
                  <a:pt x="311746" y="161861"/>
                </a:lnTo>
                <a:lnTo>
                  <a:pt x="293979" y="165417"/>
                </a:lnTo>
                <a:lnTo>
                  <a:pt x="279577" y="175133"/>
                </a:lnTo>
                <a:lnTo>
                  <a:pt x="269938" y="189585"/>
                </a:lnTo>
                <a:lnTo>
                  <a:pt x="266420" y="207365"/>
                </a:lnTo>
                <a:lnTo>
                  <a:pt x="269938" y="225056"/>
                </a:lnTo>
                <a:lnTo>
                  <a:pt x="279577" y="239534"/>
                </a:lnTo>
                <a:lnTo>
                  <a:pt x="293979" y="249301"/>
                </a:lnTo>
                <a:lnTo>
                  <a:pt x="311746" y="252895"/>
                </a:lnTo>
                <a:lnTo>
                  <a:pt x="329476" y="249301"/>
                </a:lnTo>
                <a:lnTo>
                  <a:pt x="343852" y="239534"/>
                </a:lnTo>
                <a:lnTo>
                  <a:pt x="353491" y="225056"/>
                </a:lnTo>
                <a:lnTo>
                  <a:pt x="357009" y="207365"/>
                </a:lnTo>
                <a:close/>
              </a:path>
              <a:path w="3090544" h="253365">
                <a:moveTo>
                  <a:pt x="622452" y="246989"/>
                </a:moveTo>
                <a:lnTo>
                  <a:pt x="493928" y="81991"/>
                </a:lnTo>
                <a:lnTo>
                  <a:pt x="469874" y="51904"/>
                </a:lnTo>
                <a:lnTo>
                  <a:pt x="413931" y="7061"/>
                </a:lnTo>
                <a:lnTo>
                  <a:pt x="377621" y="12"/>
                </a:lnTo>
                <a:lnTo>
                  <a:pt x="123710" y="12"/>
                </a:lnTo>
                <a:lnTo>
                  <a:pt x="75628" y="9728"/>
                </a:lnTo>
                <a:lnTo>
                  <a:pt x="36296" y="36195"/>
                </a:lnTo>
                <a:lnTo>
                  <a:pt x="9740" y="75450"/>
                </a:lnTo>
                <a:lnTo>
                  <a:pt x="0" y="123494"/>
                </a:lnTo>
                <a:lnTo>
                  <a:pt x="9740" y="171564"/>
                </a:lnTo>
                <a:lnTo>
                  <a:pt x="36296" y="210820"/>
                </a:lnTo>
                <a:lnTo>
                  <a:pt x="75628" y="237286"/>
                </a:lnTo>
                <a:lnTo>
                  <a:pt x="123710" y="246989"/>
                </a:lnTo>
                <a:lnTo>
                  <a:pt x="238823" y="246989"/>
                </a:lnTo>
                <a:lnTo>
                  <a:pt x="238823" y="203530"/>
                </a:lnTo>
                <a:lnTo>
                  <a:pt x="207429" y="197129"/>
                </a:lnTo>
                <a:lnTo>
                  <a:pt x="181724" y="179705"/>
                </a:lnTo>
                <a:lnTo>
                  <a:pt x="164350" y="153962"/>
                </a:lnTo>
                <a:lnTo>
                  <a:pt x="157975" y="122542"/>
                </a:lnTo>
                <a:lnTo>
                  <a:pt x="164363" y="91198"/>
                </a:lnTo>
                <a:lnTo>
                  <a:pt x="181749" y="65608"/>
                </a:lnTo>
                <a:lnTo>
                  <a:pt x="207530" y="48361"/>
                </a:lnTo>
                <a:lnTo>
                  <a:pt x="239064" y="42037"/>
                </a:lnTo>
                <a:lnTo>
                  <a:pt x="258483" y="44411"/>
                </a:lnTo>
                <a:lnTo>
                  <a:pt x="275844" y="51041"/>
                </a:lnTo>
                <a:lnTo>
                  <a:pt x="290817" y="61201"/>
                </a:lnTo>
                <a:lnTo>
                  <a:pt x="303085" y="74142"/>
                </a:lnTo>
                <a:lnTo>
                  <a:pt x="436664" y="246989"/>
                </a:lnTo>
                <a:lnTo>
                  <a:pt x="622452" y="246989"/>
                </a:lnTo>
                <a:close/>
              </a:path>
              <a:path w="3090544" h="253365">
                <a:moveTo>
                  <a:pt x="1268044" y="248894"/>
                </a:moveTo>
                <a:lnTo>
                  <a:pt x="1244193" y="218249"/>
                </a:lnTo>
                <a:lnTo>
                  <a:pt x="1210106" y="174459"/>
                </a:lnTo>
                <a:lnTo>
                  <a:pt x="1146378" y="92595"/>
                </a:lnTo>
                <a:lnTo>
                  <a:pt x="1074293" y="0"/>
                </a:lnTo>
                <a:lnTo>
                  <a:pt x="1023289" y="0"/>
                </a:lnTo>
                <a:lnTo>
                  <a:pt x="1023289" y="174459"/>
                </a:lnTo>
                <a:lnTo>
                  <a:pt x="894892" y="174459"/>
                </a:lnTo>
                <a:lnTo>
                  <a:pt x="960107" y="92595"/>
                </a:lnTo>
                <a:lnTo>
                  <a:pt x="1023289" y="174459"/>
                </a:lnTo>
                <a:lnTo>
                  <a:pt x="1023289" y="0"/>
                </a:lnTo>
                <a:lnTo>
                  <a:pt x="866051" y="0"/>
                </a:lnTo>
                <a:lnTo>
                  <a:pt x="906818" y="52743"/>
                </a:lnTo>
                <a:lnTo>
                  <a:pt x="746315" y="248894"/>
                </a:lnTo>
                <a:lnTo>
                  <a:pt x="839660" y="248894"/>
                </a:lnTo>
                <a:lnTo>
                  <a:pt x="864831" y="218249"/>
                </a:lnTo>
                <a:lnTo>
                  <a:pt x="1057160" y="218249"/>
                </a:lnTo>
                <a:lnTo>
                  <a:pt x="1080795" y="248894"/>
                </a:lnTo>
                <a:lnTo>
                  <a:pt x="1268044" y="248894"/>
                </a:lnTo>
                <a:close/>
              </a:path>
              <a:path w="3090544" h="253365">
                <a:moveTo>
                  <a:pt x="1740636" y="125158"/>
                </a:moveTo>
                <a:lnTo>
                  <a:pt x="1735315" y="86347"/>
                </a:lnTo>
                <a:lnTo>
                  <a:pt x="1706829" y="43764"/>
                </a:lnTo>
                <a:lnTo>
                  <a:pt x="1654098" y="13538"/>
                </a:lnTo>
                <a:lnTo>
                  <a:pt x="1604657" y="3365"/>
                </a:lnTo>
                <a:lnTo>
                  <a:pt x="1585315" y="2298"/>
                </a:lnTo>
                <a:lnTo>
                  <a:pt x="1585315" y="124942"/>
                </a:lnTo>
                <a:lnTo>
                  <a:pt x="1580108" y="158673"/>
                </a:lnTo>
                <a:lnTo>
                  <a:pt x="1564487" y="183870"/>
                </a:lnTo>
                <a:lnTo>
                  <a:pt x="1538516" y="199644"/>
                </a:lnTo>
                <a:lnTo>
                  <a:pt x="1502232" y="205105"/>
                </a:lnTo>
                <a:lnTo>
                  <a:pt x="1458353" y="205105"/>
                </a:lnTo>
                <a:lnTo>
                  <a:pt x="1458353" y="43764"/>
                </a:lnTo>
                <a:lnTo>
                  <a:pt x="1502232" y="43764"/>
                </a:lnTo>
                <a:lnTo>
                  <a:pt x="1538414" y="49377"/>
                </a:lnTo>
                <a:lnTo>
                  <a:pt x="1564398" y="65506"/>
                </a:lnTo>
                <a:lnTo>
                  <a:pt x="1580070" y="91059"/>
                </a:lnTo>
                <a:lnTo>
                  <a:pt x="1585315" y="124942"/>
                </a:lnTo>
                <a:lnTo>
                  <a:pt x="1585315" y="2298"/>
                </a:lnTo>
                <a:lnTo>
                  <a:pt x="1543723" y="0"/>
                </a:lnTo>
                <a:lnTo>
                  <a:pt x="1301597" y="0"/>
                </a:lnTo>
                <a:lnTo>
                  <a:pt x="1301597" y="248894"/>
                </a:lnTo>
                <a:lnTo>
                  <a:pt x="1543723" y="248894"/>
                </a:lnTo>
                <a:lnTo>
                  <a:pt x="1604314" y="245668"/>
                </a:lnTo>
                <a:lnTo>
                  <a:pt x="1653654" y="235839"/>
                </a:lnTo>
                <a:lnTo>
                  <a:pt x="1691855" y="219138"/>
                </a:lnTo>
                <a:lnTo>
                  <a:pt x="1735251" y="164058"/>
                </a:lnTo>
                <a:lnTo>
                  <a:pt x="1740636" y="125158"/>
                </a:lnTo>
                <a:close/>
              </a:path>
              <a:path w="3090544" h="253365">
                <a:moveTo>
                  <a:pt x="2277529" y="248894"/>
                </a:moveTo>
                <a:lnTo>
                  <a:pt x="2206523" y="157530"/>
                </a:lnTo>
                <a:lnTo>
                  <a:pt x="2231339" y="145008"/>
                </a:lnTo>
                <a:lnTo>
                  <a:pt x="2249703" y="127965"/>
                </a:lnTo>
                <a:lnTo>
                  <a:pt x="2261095" y="106921"/>
                </a:lnTo>
                <a:lnTo>
                  <a:pt x="2265019" y="82397"/>
                </a:lnTo>
                <a:lnTo>
                  <a:pt x="2258149" y="50393"/>
                </a:lnTo>
                <a:lnTo>
                  <a:pt x="2252942" y="43802"/>
                </a:lnTo>
                <a:lnTo>
                  <a:pt x="2237448" y="24193"/>
                </a:lnTo>
                <a:lnTo>
                  <a:pt x="2202789" y="6502"/>
                </a:lnTo>
                <a:lnTo>
                  <a:pt x="2154047" y="0"/>
                </a:lnTo>
                <a:lnTo>
                  <a:pt x="1820545" y="0"/>
                </a:lnTo>
                <a:lnTo>
                  <a:pt x="1820545" y="248894"/>
                </a:lnTo>
                <a:lnTo>
                  <a:pt x="1977072" y="248894"/>
                </a:lnTo>
                <a:lnTo>
                  <a:pt x="1977072" y="43802"/>
                </a:lnTo>
                <a:lnTo>
                  <a:pt x="2047989" y="43802"/>
                </a:lnTo>
                <a:lnTo>
                  <a:pt x="2073948" y="47777"/>
                </a:lnTo>
                <a:lnTo>
                  <a:pt x="2091486" y="58178"/>
                </a:lnTo>
                <a:lnTo>
                  <a:pt x="2101392" y="72783"/>
                </a:lnTo>
                <a:lnTo>
                  <a:pt x="2104517" y="89331"/>
                </a:lnTo>
                <a:lnTo>
                  <a:pt x="2098624" y="111201"/>
                </a:lnTo>
                <a:lnTo>
                  <a:pt x="2083714" y="127012"/>
                </a:lnTo>
                <a:lnTo>
                  <a:pt x="2063915" y="136613"/>
                </a:lnTo>
                <a:lnTo>
                  <a:pt x="2043353" y="139852"/>
                </a:lnTo>
                <a:lnTo>
                  <a:pt x="2022157" y="139852"/>
                </a:lnTo>
                <a:lnTo>
                  <a:pt x="2081834" y="248894"/>
                </a:lnTo>
                <a:lnTo>
                  <a:pt x="2277529" y="248894"/>
                </a:lnTo>
                <a:close/>
              </a:path>
              <a:path w="3090544" h="253365">
                <a:moveTo>
                  <a:pt x="2523629" y="12"/>
                </a:moveTo>
                <a:lnTo>
                  <a:pt x="2366886" y="12"/>
                </a:lnTo>
                <a:lnTo>
                  <a:pt x="2366886" y="248894"/>
                </a:lnTo>
                <a:lnTo>
                  <a:pt x="2523629" y="248894"/>
                </a:lnTo>
                <a:lnTo>
                  <a:pt x="2523629" y="12"/>
                </a:lnTo>
                <a:close/>
              </a:path>
              <a:path w="3090544" h="253365">
                <a:moveTo>
                  <a:pt x="3090049" y="248894"/>
                </a:moveTo>
                <a:lnTo>
                  <a:pt x="3066224" y="218249"/>
                </a:lnTo>
                <a:lnTo>
                  <a:pt x="3032163" y="174459"/>
                </a:lnTo>
                <a:lnTo>
                  <a:pt x="2968498" y="92595"/>
                </a:lnTo>
                <a:lnTo>
                  <a:pt x="2896476" y="0"/>
                </a:lnTo>
                <a:lnTo>
                  <a:pt x="2845473" y="0"/>
                </a:lnTo>
                <a:lnTo>
                  <a:pt x="2845473" y="174459"/>
                </a:lnTo>
                <a:lnTo>
                  <a:pt x="2716720" y="174459"/>
                </a:lnTo>
                <a:lnTo>
                  <a:pt x="2782201" y="92595"/>
                </a:lnTo>
                <a:lnTo>
                  <a:pt x="2845473" y="174459"/>
                </a:lnTo>
                <a:lnTo>
                  <a:pt x="2845473" y="0"/>
                </a:lnTo>
                <a:lnTo>
                  <a:pt x="2688132" y="0"/>
                </a:lnTo>
                <a:lnTo>
                  <a:pt x="2728988" y="52743"/>
                </a:lnTo>
                <a:lnTo>
                  <a:pt x="2568397" y="248894"/>
                </a:lnTo>
                <a:lnTo>
                  <a:pt x="2661729" y="248894"/>
                </a:lnTo>
                <a:lnTo>
                  <a:pt x="2686913" y="218249"/>
                </a:lnTo>
                <a:lnTo>
                  <a:pt x="2879267" y="218249"/>
                </a:lnTo>
                <a:lnTo>
                  <a:pt x="2902902" y="248894"/>
                </a:lnTo>
                <a:lnTo>
                  <a:pt x="3090049" y="248894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en-AU"/>
          </a:p>
        </p:txBody>
      </p:sp>
      <p:sp>
        <p:nvSpPr>
          <p:cNvPr id="8" name="object 2">
            <a:extLst>
              <a:ext uri="{FF2B5EF4-FFF2-40B4-BE49-F238E27FC236}">
                <a16:creationId xmlns:a16="http://schemas.microsoft.com/office/drawing/2014/main" id="{E823D118-567B-EB5A-0759-85A8BB3132C2}"/>
              </a:ext>
            </a:extLst>
          </p:cNvPr>
          <p:cNvSpPr txBox="1"/>
          <p:nvPr userDrawn="1"/>
        </p:nvSpPr>
        <p:spPr>
          <a:xfrm>
            <a:off x="5835650" y="1758950"/>
            <a:ext cx="8432800" cy="1133475"/>
          </a:xfrm>
          <a:prstGeom prst="rect">
            <a:avLst/>
          </a:prstGeom>
        </p:spPr>
        <p:txBody>
          <a:bodyPr lIns="0" tIns="89535" rIns="0" bIns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it-IT" sz="2400" b="1" spc="300" dirty="0">
                <a:latin typeface="Helvetica Neue" panose="02000503000000020004" pitchFamily="2" charset="0"/>
              </a:rPr>
              <a:t>DESIGNED FOR YOU</a:t>
            </a:r>
            <a:endParaRPr lang="it-IT" sz="2400" spc="300" dirty="0">
              <a:latin typeface="Helvetica Neue" panose="02000503000000020004" pitchFamily="2" charset="0"/>
            </a:endParaRPr>
          </a:p>
          <a:p>
            <a:pPr algn="ctr" eaLnBrk="1" fontAlgn="auto" hangingPunct="1">
              <a:spcBef>
                <a:spcPts val="975"/>
              </a:spcBef>
              <a:spcAft>
                <a:spcPts val="0"/>
              </a:spcAft>
              <a:defRPr/>
            </a:pPr>
            <a:r>
              <a:rPr lang="it-IT" sz="3550" b="1" spc="300" dirty="0">
                <a:solidFill>
                  <a:srgbClr val="666666"/>
                </a:solidFill>
                <a:latin typeface="Helvetica Neue"/>
                <a:cs typeface="Helvetica Neue"/>
              </a:rPr>
              <a:t>FABRICS</a:t>
            </a:r>
            <a:endParaRPr lang="it-IT" sz="3550" spc="300" dirty="0">
              <a:latin typeface="Helvetica Neue"/>
              <a:cs typeface="Helvetica Neue"/>
            </a:endParaRPr>
          </a:p>
        </p:txBody>
      </p:sp>
      <p:sp>
        <p:nvSpPr>
          <p:cNvPr id="9" name="Holder 2">
            <a:extLst>
              <a:ext uri="{FF2B5EF4-FFF2-40B4-BE49-F238E27FC236}">
                <a16:creationId xmlns:a16="http://schemas.microsoft.com/office/drawing/2014/main" id="{FC8847A3-0BE9-B18C-CE2A-1FC493FC786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0858500" y="3167063"/>
            <a:ext cx="6376988" cy="914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/>
            <a:endParaRPr lang="sl-SI" altLang="sl-SI" sz="2600" b="1" u="sng">
              <a:solidFill>
                <a:srgbClr val="000000"/>
              </a:solidFill>
              <a:latin typeface="Helvetica" panose="020B0604020202020204" pitchFamily="34" charset="0"/>
            </a:endParaRPr>
          </a:p>
        </p:txBody>
      </p:sp>
      <p:sp>
        <p:nvSpPr>
          <p:cNvPr id="6" name="Holder 4"/>
          <p:cNvSpPr>
            <a:spLocks noGrp="1"/>
          </p:cNvSpPr>
          <p:nvPr>
            <p:ph sz="half" idx="3"/>
          </p:nvPr>
        </p:nvSpPr>
        <p:spPr>
          <a:xfrm>
            <a:off x="2869777" y="3867170"/>
            <a:ext cx="2458085" cy="1939763"/>
          </a:xfrm>
          <a:prstGeom prst="rect">
            <a:avLst/>
          </a:prstGeom>
          <a:solidFill>
            <a:srgbClr val="E5E5E5"/>
          </a:solidFill>
        </p:spPr>
        <p:txBody>
          <a:bodyPr/>
          <a:lstStyle>
            <a:lvl1pPr>
              <a:defRPr/>
            </a:lvl1pPr>
          </a:lstStyle>
          <a:p>
            <a:endParaRPr dirty="0"/>
          </a:p>
        </p:txBody>
      </p:sp>
      <p:sp>
        <p:nvSpPr>
          <p:cNvPr id="29" name="Segnaposto testo 43"/>
          <p:cNvSpPr>
            <a:spLocks noGrp="1"/>
          </p:cNvSpPr>
          <p:nvPr>
            <p:ph type="body" sz="quarter" idx="24"/>
          </p:nvPr>
        </p:nvSpPr>
        <p:spPr>
          <a:xfrm>
            <a:off x="11926457" y="3120965"/>
            <a:ext cx="6163739" cy="400110"/>
          </a:xfrm>
        </p:spPr>
        <p:txBody>
          <a:bodyPr/>
          <a:lstStyle>
            <a:lvl1pPr>
              <a:defRPr sz="2600" b="1" i="0" u="sng">
                <a:latin typeface="Helvetica" pitchFamily="2" charset="0"/>
              </a:defRPr>
            </a:lvl1pPr>
            <a:lvl2pPr>
              <a:defRPr sz="2600" b="1" i="0">
                <a:latin typeface="Helvetica" pitchFamily="2" charset="0"/>
              </a:defRPr>
            </a:lvl2pPr>
            <a:lvl3pPr>
              <a:defRPr sz="2600" b="1" i="0">
                <a:latin typeface="Helvetica" pitchFamily="2" charset="0"/>
              </a:defRPr>
            </a:lvl3pPr>
            <a:lvl4pPr>
              <a:defRPr sz="2600" b="1" i="0">
                <a:latin typeface="Helvetica" pitchFamily="2" charset="0"/>
              </a:defRPr>
            </a:lvl4pPr>
            <a:lvl5pPr>
              <a:defRPr sz="2600" b="1" i="0">
                <a:latin typeface="Helvetica" pitchFamily="2" charset="0"/>
              </a:defRPr>
            </a:lvl5pPr>
          </a:lstStyle>
          <a:p>
            <a:pPr lvl="0"/>
            <a:endParaRPr lang="it-IT" dirty="0"/>
          </a:p>
        </p:txBody>
      </p:sp>
      <p:sp>
        <p:nvSpPr>
          <p:cNvPr id="30" name="Segnaposto testo 43"/>
          <p:cNvSpPr>
            <a:spLocks noGrp="1"/>
          </p:cNvSpPr>
          <p:nvPr>
            <p:ph type="body" sz="quarter" idx="25"/>
          </p:nvPr>
        </p:nvSpPr>
        <p:spPr>
          <a:xfrm>
            <a:off x="2857408" y="3120965"/>
            <a:ext cx="5930145" cy="400110"/>
          </a:xfrm>
        </p:spPr>
        <p:txBody>
          <a:bodyPr/>
          <a:lstStyle>
            <a:lvl1pPr>
              <a:defRPr sz="2600" b="1" i="0" u="sng">
                <a:latin typeface="Helvetica" pitchFamily="2" charset="0"/>
              </a:defRPr>
            </a:lvl1pPr>
            <a:lvl2pPr>
              <a:defRPr sz="2600" b="1" i="0">
                <a:latin typeface="Helvetica" pitchFamily="2" charset="0"/>
              </a:defRPr>
            </a:lvl2pPr>
            <a:lvl3pPr>
              <a:defRPr sz="2600" b="1" i="0">
                <a:latin typeface="Helvetica" pitchFamily="2" charset="0"/>
              </a:defRPr>
            </a:lvl3pPr>
            <a:lvl4pPr>
              <a:defRPr sz="2600" b="1" i="0">
                <a:latin typeface="Helvetica" pitchFamily="2" charset="0"/>
              </a:defRPr>
            </a:lvl4pPr>
            <a:lvl5pPr>
              <a:defRPr sz="2600" b="1" i="0">
                <a:latin typeface="Helvetica" pitchFamily="2" charset="0"/>
              </a:defRPr>
            </a:lvl5pPr>
          </a:lstStyle>
          <a:p>
            <a:pPr lvl="0"/>
            <a:endParaRPr lang="it-IT" dirty="0"/>
          </a:p>
        </p:txBody>
      </p:sp>
      <p:sp>
        <p:nvSpPr>
          <p:cNvPr id="35" name="Segnaposto testo 34"/>
          <p:cNvSpPr>
            <a:spLocks noGrp="1"/>
          </p:cNvSpPr>
          <p:nvPr>
            <p:ph type="body" sz="quarter" idx="26"/>
          </p:nvPr>
        </p:nvSpPr>
        <p:spPr>
          <a:xfrm>
            <a:off x="2857409" y="5920178"/>
            <a:ext cx="2470150" cy="200055"/>
          </a:xfrm>
        </p:spPr>
        <p:txBody>
          <a:bodyPr/>
          <a:lstStyle>
            <a:lvl1pPr>
              <a:defRPr sz="1300" b="1" i="0">
                <a:latin typeface="Helvetica" pitchFamily="2" charset="0"/>
              </a:defRPr>
            </a:lvl1pPr>
            <a:lvl2pPr>
              <a:defRPr sz="1300" b="1" i="0">
                <a:latin typeface="Helvetica" pitchFamily="2" charset="0"/>
              </a:defRPr>
            </a:lvl2pPr>
            <a:lvl3pPr>
              <a:defRPr sz="1300" b="1" i="0">
                <a:latin typeface="Helvetica" pitchFamily="2" charset="0"/>
              </a:defRPr>
            </a:lvl3pPr>
            <a:lvl4pPr>
              <a:defRPr sz="1300" b="1" i="0">
                <a:latin typeface="Helvetica" pitchFamily="2" charset="0"/>
              </a:defRPr>
            </a:lvl4pPr>
            <a:lvl5pPr>
              <a:defRPr sz="1300" b="1" i="0">
                <a:latin typeface="Helvetica" pitchFamily="2" charset="0"/>
              </a:defRPr>
            </a:lvl5pPr>
          </a:lstStyle>
          <a:p>
            <a:pPr lvl="0"/>
            <a:endParaRPr lang="it-IT" dirty="0"/>
          </a:p>
        </p:txBody>
      </p:sp>
      <p:sp>
        <p:nvSpPr>
          <p:cNvPr id="36" name="Holder 4"/>
          <p:cNvSpPr>
            <a:spLocks noGrp="1"/>
          </p:cNvSpPr>
          <p:nvPr>
            <p:ph sz="half" idx="27"/>
          </p:nvPr>
        </p:nvSpPr>
        <p:spPr>
          <a:xfrm>
            <a:off x="5493055" y="3867170"/>
            <a:ext cx="2458085" cy="1939763"/>
          </a:xfrm>
          <a:prstGeom prst="rect">
            <a:avLst/>
          </a:prstGeom>
          <a:solidFill>
            <a:srgbClr val="E5E5E5"/>
          </a:solidFill>
        </p:spPr>
        <p:txBody>
          <a:bodyPr/>
          <a:lstStyle>
            <a:lvl1pPr>
              <a:defRPr/>
            </a:lvl1pPr>
          </a:lstStyle>
          <a:p>
            <a:endParaRPr dirty="0"/>
          </a:p>
        </p:txBody>
      </p:sp>
      <p:sp>
        <p:nvSpPr>
          <p:cNvPr id="37" name="Segnaposto testo 34"/>
          <p:cNvSpPr>
            <a:spLocks noGrp="1"/>
          </p:cNvSpPr>
          <p:nvPr>
            <p:ph type="body" sz="quarter" idx="28"/>
          </p:nvPr>
        </p:nvSpPr>
        <p:spPr>
          <a:xfrm>
            <a:off x="5480687" y="5920178"/>
            <a:ext cx="2470150" cy="200055"/>
          </a:xfrm>
        </p:spPr>
        <p:txBody>
          <a:bodyPr/>
          <a:lstStyle>
            <a:lvl1pPr>
              <a:defRPr sz="1300" b="1" i="0">
                <a:latin typeface="Helvetica" pitchFamily="2" charset="0"/>
              </a:defRPr>
            </a:lvl1pPr>
            <a:lvl2pPr>
              <a:defRPr sz="1300" b="1" i="0">
                <a:latin typeface="Helvetica" pitchFamily="2" charset="0"/>
              </a:defRPr>
            </a:lvl2pPr>
            <a:lvl3pPr>
              <a:defRPr sz="1300" b="1" i="0">
                <a:latin typeface="Helvetica" pitchFamily="2" charset="0"/>
              </a:defRPr>
            </a:lvl3pPr>
            <a:lvl4pPr>
              <a:defRPr sz="1300" b="1" i="0">
                <a:latin typeface="Helvetica" pitchFamily="2" charset="0"/>
              </a:defRPr>
            </a:lvl4pPr>
            <a:lvl5pPr>
              <a:defRPr sz="1300" b="1" i="0">
                <a:latin typeface="Helvetica" pitchFamily="2" charset="0"/>
              </a:defRPr>
            </a:lvl5pPr>
          </a:lstStyle>
          <a:p>
            <a:pPr lvl="0"/>
            <a:endParaRPr lang="it-IT" dirty="0"/>
          </a:p>
        </p:txBody>
      </p:sp>
      <p:sp>
        <p:nvSpPr>
          <p:cNvPr id="38" name="Holder 4"/>
          <p:cNvSpPr>
            <a:spLocks noGrp="1"/>
          </p:cNvSpPr>
          <p:nvPr>
            <p:ph sz="half" idx="29"/>
          </p:nvPr>
        </p:nvSpPr>
        <p:spPr>
          <a:xfrm>
            <a:off x="8116334" y="3867170"/>
            <a:ext cx="2458085" cy="1939763"/>
          </a:xfrm>
          <a:prstGeom prst="rect">
            <a:avLst/>
          </a:prstGeom>
          <a:solidFill>
            <a:srgbClr val="E5E5E5"/>
          </a:solidFill>
        </p:spPr>
        <p:txBody>
          <a:bodyPr/>
          <a:lstStyle>
            <a:lvl1pPr>
              <a:defRPr/>
            </a:lvl1pPr>
          </a:lstStyle>
          <a:p>
            <a:endParaRPr dirty="0"/>
          </a:p>
        </p:txBody>
      </p:sp>
      <p:sp>
        <p:nvSpPr>
          <p:cNvPr id="39" name="Segnaposto testo 34"/>
          <p:cNvSpPr>
            <a:spLocks noGrp="1"/>
          </p:cNvSpPr>
          <p:nvPr>
            <p:ph type="body" sz="quarter" idx="30"/>
          </p:nvPr>
        </p:nvSpPr>
        <p:spPr>
          <a:xfrm>
            <a:off x="8103966" y="5920178"/>
            <a:ext cx="2470150" cy="200055"/>
          </a:xfrm>
        </p:spPr>
        <p:txBody>
          <a:bodyPr/>
          <a:lstStyle>
            <a:lvl1pPr>
              <a:defRPr sz="1300" b="1" i="0">
                <a:latin typeface="Helvetica" pitchFamily="2" charset="0"/>
              </a:defRPr>
            </a:lvl1pPr>
            <a:lvl2pPr>
              <a:defRPr sz="1300" b="1" i="0">
                <a:latin typeface="Helvetica" pitchFamily="2" charset="0"/>
              </a:defRPr>
            </a:lvl2pPr>
            <a:lvl3pPr>
              <a:defRPr sz="1300" b="1" i="0">
                <a:latin typeface="Helvetica" pitchFamily="2" charset="0"/>
              </a:defRPr>
            </a:lvl3pPr>
            <a:lvl4pPr>
              <a:defRPr sz="1300" b="1" i="0">
                <a:latin typeface="Helvetica" pitchFamily="2" charset="0"/>
              </a:defRPr>
            </a:lvl4pPr>
            <a:lvl5pPr>
              <a:defRPr sz="1300" b="1" i="0">
                <a:latin typeface="Helvetica" pitchFamily="2" charset="0"/>
              </a:defRPr>
            </a:lvl5pPr>
          </a:lstStyle>
          <a:p>
            <a:pPr lvl="0"/>
            <a:endParaRPr lang="it-IT" dirty="0"/>
          </a:p>
        </p:txBody>
      </p:sp>
      <p:sp>
        <p:nvSpPr>
          <p:cNvPr id="40" name="Holder 4"/>
          <p:cNvSpPr>
            <a:spLocks noGrp="1"/>
          </p:cNvSpPr>
          <p:nvPr>
            <p:ph sz="half" idx="31"/>
          </p:nvPr>
        </p:nvSpPr>
        <p:spPr>
          <a:xfrm>
            <a:off x="11938826" y="3867170"/>
            <a:ext cx="2458085" cy="1939763"/>
          </a:xfrm>
          <a:prstGeom prst="rect">
            <a:avLst/>
          </a:prstGeom>
          <a:solidFill>
            <a:srgbClr val="E5E5E5"/>
          </a:solidFill>
        </p:spPr>
        <p:txBody>
          <a:bodyPr/>
          <a:lstStyle>
            <a:lvl1pPr>
              <a:defRPr/>
            </a:lvl1pPr>
          </a:lstStyle>
          <a:p>
            <a:endParaRPr dirty="0"/>
          </a:p>
        </p:txBody>
      </p:sp>
      <p:sp>
        <p:nvSpPr>
          <p:cNvPr id="41" name="Segnaposto testo 34"/>
          <p:cNvSpPr>
            <a:spLocks noGrp="1"/>
          </p:cNvSpPr>
          <p:nvPr>
            <p:ph type="body" sz="quarter" idx="32"/>
          </p:nvPr>
        </p:nvSpPr>
        <p:spPr>
          <a:xfrm>
            <a:off x="11926458" y="5920178"/>
            <a:ext cx="2470150" cy="200055"/>
          </a:xfrm>
        </p:spPr>
        <p:txBody>
          <a:bodyPr/>
          <a:lstStyle>
            <a:lvl1pPr>
              <a:defRPr sz="1300" b="1" i="0">
                <a:latin typeface="Helvetica" pitchFamily="2" charset="0"/>
              </a:defRPr>
            </a:lvl1pPr>
            <a:lvl2pPr>
              <a:defRPr sz="1300" b="1" i="0">
                <a:latin typeface="Helvetica" pitchFamily="2" charset="0"/>
              </a:defRPr>
            </a:lvl2pPr>
            <a:lvl3pPr>
              <a:defRPr sz="1300" b="1" i="0">
                <a:latin typeface="Helvetica" pitchFamily="2" charset="0"/>
              </a:defRPr>
            </a:lvl3pPr>
            <a:lvl4pPr>
              <a:defRPr sz="1300" b="1" i="0">
                <a:latin typeface="Helvetica" pitchFamily="2" charset="0"/>
              </a:defRPr>
            </a:lvl4pPr>
            <a:lvl5pPr>
              <a:defRPr sz="1300" b="1" i="0">
                <a:latin typeface="Helvetica" pitchFamily="2" charset="0"/>
              </a:defRPr>
            </a:lvl5pPr>
          </a:lstStyle>
          <a:p>
            <a:pPr lvl="0"/>
            <a:endParaRPr lang="it-IT" dirty="0"/>
          </a:p>
        </p:txBody>
      </p:sp>
      <p:sp>
        <p:nvSpPr>
          <p:cNvPr id="42" name="Holder 4"/>
          <p:cNvSpPr>
            <a:spLocks noGrp="1"/>
          </p:cNvSpPr>
          <p:nvPr>
            <p:ph sz="half" idx="33"/>
          </p:nvPr>
        </p:nvSpPr>
        <p:spPr>
          <a:xfrm>
            <a:off x="14562105" y="3867170"/>
            <a:ext cx="2458085" cy="1939763"/>
          </a:xfrm>
          <a:prstGeom prst="rect">
            <a:avLst/>
          </a:prstGeom>
          <a:solidFill>
            <a:srgbClr val="E5E5E5"/>
          </a:solidFill>
        </p:spPr>
        <p:txBody>
          <a:bodyPr/>
          <a:lstStyle>
            <a:lvl1pPr>
              <a:defRPr/>
            </a:lvl1pPr>
          </a:lstStyle>
          <a:p>
            <a:endParaRPr dirty="0"/>
          </a:p>
        </p:txBody>
      </p:sp>
      <p:sp>
        <p:nvSpPr>
          <p:cNvPr id="43" name="Segnaposto testo 34"/>
          <p:cNvSpPr>
            <a:spLocks noGrp="1"/>
          </p:cNvSpPr>
          <p:nvPr>
            <p:ph type="body" sz="quarter" idx="34"/>
          </p:nvPr>
        </p:nvSpPr>
        <p:spPr>
          <a:xfrm>
            <a:off x="14549737" y="5920178"/>
            <a:ext cx="2470150" cy="200055"/>
          </a:xfrm>
        </p:spPr>
        <p:txBody>
          <a:bodyPr/>
          <a:lstStyle>
            <a:lvl1pPr>
              <a:defRPr sz="1300" b="1" i="0">
                <a:latin typeface="Helvetica" pitchFamily="2" charset="0"/>
              </a:defRPr>
            </a:lvl1pPr>
            <a:lvl2pPr>
              <a:defRPr sz="1300" b="1" i="0">
                <a:latin typeface="Helvetica" pitchFamily="2" charset="0"/>
              </a:defRPr>
            </a:lvl2pPr>
            <a:lvl3pPr>
              <a:defRPr sz="1300" b="1" i="0">
                <a:latin typeface="Helvetica" pitchFamily="2" charset="0"/>
              </a:defRPr>
            </a:lvl3pPr>
            <a:lvl4pPr>
              <a:defRPr sz="1300" b="1" i="0">
                <a:latin typeface="Helvetica" pitchFamily="2" charset="0"/>
              </a:defRPr>
            </a:lvl4pPr>
            <a:lvl5pPr>
              <a:defRPr sz="1300" b="1" i="0">
                <a:latin typeface="Helvetica" pitchFamily="2" charset="0"/>
              </a:defRPr>
            </a:lvl5pPr>
          </a:lstStyle>
          <a:p>
            <a:pPr lvl="0"/>
            <a:endParaRPr lang="it-IT" dirty="0"/>
          </a:p>
        </p:txBody>
      </p:sp>
      <p:sp>
        <p:nvSpPr>
          <p:cNvPr id="44" name="Holder 4"/>
          <p:cNvSpPr>
            <a:spLocks noGrp="1"/>
          </p:cNvSpPr>
          <p:nvPr>
            <p:ph sz="half" idx="35"/>
          </p:nvPr>
        </p:nvSpPr>
        <p:spPr>
          <a:xfrm>
            <a:off x="2869777" y="6205635"/>
            <a:ext cx="2458085" cy="1939763"/>
          </a:xfrm>
          <a:prstGeom prst="rect">
            <a:avLst/>
          </a:prstGeom>
          <a:solidFill>
            <a:srgbClr val="E5E5E5"/>
          </a:solidFill>
        </p:spPr>
        <p:txBody>
          <a:bodyPr/>
          <a:lstStyle>
            <a:lvl1pPr>
              <a:defRPr/>
            </a:lvl1pPr>
          </a:lstStyle>
          <a:p>
            <a:endParaRPr dirty="0"/>
          </a:p>
        </p:txBody>
      </p:sp>
      <p:sp>
        <p:nvSpPr>
          <p:cNvPr id="45" name="Segnaposto testo 34"/>
          <p:cNvSpPr>
            <a:spLocks noGrp="1"/>
          </p:cNvSpPr>
          <p:nvPr>
            <p:ph type="body" sz="quarter" idx="36"/>
          </p:nvPr>
        </p:nvSpPr>
        <p:spPr>
          <a:xfrm>
            <a:off x="2857409" y="8258643"/>
            <a:ext cx="2470150" cy="200055"/>
          </a:xfrm>
        </p:spPr>
        <p:txBody>
          <a:bodyPr/>
          <a:lstStyle>
            <a:lvl1pPr>
              <a:defRPr sz="1300" b="1" i="0">
                <a:latin typeface="Helvetica" pitchFamily="2" charset="0"/>
              </a:defRPr>
            </a:lvl1pPr>
            <a:lvl2pPr>
              <a:defRPr sz="1300" b="1" i="0">
                <a:latin typeface="Helvetica" pitchFamily="2" charset="0"/>
              </a:defRPr>
            </a:lvl2pPr>
            <a:lvl3pPr>
              <a:defRPr sz="1300" b="1" i="0">
                <a:latin typeface="Helvetica" pitchFamily="2" charset="0"/>
              </a:defRPr>
            </a:lvl3pPr>
            <a:lvl4pPr>
              <a:defRPr sz="1300" b="1" i="0">
                <a:latin typeface="Helvetica" pitchFamily="2" charset="0"/>
              </a:defRPr>
            </a:lvl4pPr>
            <a:lvl5pPr>
              <a:defRPr sz="1300" b="1" i="0">
                <a:latin typeface="Helvetica" pitchFamily="2" charset="0"/>
              </a:defRPr>
            </a:lvl5pPr>
          </a:lstStyle>
          <a:p>
            <a:pPr lvl="0"/>
            <a:endParaRPr lang="it-IT" dirty="0"/>
          </a:p>
        </p:txBody>
      </p:sp>
      <p:sp>
        <p:nvSpPr>
          <p:cNvPr id="46" name="Holder 4"/>
          <p:cNvSpPr>
            <a:spLocks noGrp="1"/>
          </p:cNvSpPr>
          <p:nvPr>
            <p:ph sz="half" idx="37"/>
          </p:nvPr>
        </p:nvSpPr>
        <p:spPr>
          <a:xfrm>
            <a:off x="5493055" y="6205635"/>
            <a:ext cx="2458085" cy="1939763"/>
          </a:xfrm>
          <a:prstGeom prst="rect">
            <a:avLst/>
          </a:prstGeom>
          <a:solidFill>
            <a:srgbClr val="E5E5E5"/>
          </a:solidFill>
        </p:spPr>
        <p:txBody>
          <a:bodyPr/>
          <a:lstStyle>
            <a:lvl1pPr>
              <a:defRPr/>
            </a:lvl1pPr>
          </a:lstStyle>
          <a:p>
            <a:endParaRPr dirty="0"/>
          </a:p>
        </p:txBody>
      </p:sp>
      <p:sp>
        <p:nvSpPr>
          <p:cNvPr id="47" name="Segnaposto testo 34"/>
          <p:cNvSpPr>
            <a:spLocks noGrp="1"/>
          </p:cNvSpPr>
          <p:nvPr>
            <p:ph type="body" sz="quarter" idx="38"/>
          </p:nvPr>
        </p:nvSpPr>
        <p:spPr>
          <a:xfrm>
            <a:off x="5480687" y="8258643"/>
            <a:ext cx="2470150" cy="200055"/>
          </a:xfrm>
        </p:spPr>
        <p:txBody>
          <a:bodyPr/>
          <a:lstStyle>
            <a:lvl1pPr>
              <a:defRPr sz="1300" b="1" i="0">
                <a:latin typeface="Helvetica" pitchFamily="2" charset="0"/>
              </a:defRPr>
            </a:lvl1pPr>
            <a:lvl2pPr>
              <a:defRPr sz="1300" b="1" i="0">
                <a:latin typeface="Helvetica" pitchFamily="2" charset="0"/>
              </a:defRPr>
            </a:lvl2pPr>
            <a:lvl3pPr>
              <a:defRPr sz="1300" b="1" i="0">
                <a:latin typeface="Helvetica" pitchFamily="2" charset="0"/>
              </a:defRPr>
            </a:lvl3pPr>
            <a:lvl4pPr>
              <a:defRPr sz="1300" b="1" i="0">
                <a:latin typeface="Helvetica" pitchFamily="2" charset="0"/>
              </a:defRPr>
            </a:lvl4pPr>
            <a:lvl5pPr>
              <a:defRPr sz="1300" b="1" i="0">
                <a:latin typeface="Helvetica" pitchFamily="2" charset="0"/>
              </a:defRPr>
            </a:lvl5pPr>
          </a:lstStyle>
          <a:p>
            <a:pPr lvl="0"/>
            <a:endParaRPr lang="it-IT" dirty="0"/>
          </a:p>
        </p:txBody>
      </p:sp>
      <p:sp>
        <p:nvSpPr>
          <p:cNvPr id="48" name="Holder 4"/>
          <p:cNvSpPr>
            <a:spLocks noGrp="1"/>
          </p:cNvSpPr>
          <p:nvPr>
            <p:ph sz="half" idx="39"/>
          </p:nvPr>
        </p:nvSpPr>
        <p:spPr>
          <a:xfrm>
            <a:off x="8116334" y="6205635"/>
            <a:ext cx="2458085" cy="1939763"/>
          </a:xfrm>
          <a:prstGeom prst="rect">
            <a:avLst/>
          </a:prstGeom>
          <a:solidFill>
            <a:srgbClr val="E5E5E5"/>
          </a:solidFill>
        </p:spPr>
        <p:txBody>
          <a:bodyPr/>
          <a:lstStyle>
            <a:lvl1pPr>
              <a:defRPr/>
            </a:lvl1pPr>
          </a:lstStyle>
          <a:p>
            <a:endParaRPr dirty="0"/>
          </a:p>
        </p:txBody>
      </p:sp>
      <p:sp>
        <p:nvSpPr>
          <p:cNvPr id="49" name="Segnaposto testo 34"/>
          <p:cNvSpPr>
            <a:spLocks noGrp="1"/>
          </p:cNvSpPr>
          <p:nvPr>
            <p:ph type="body" sz="quarter" idx="40"/>
          </p:nvPr>
        </p:nvSpPr>
        <p:spPr>
          <a:xfrm>
            <a:off x="8103966" y="8258643"/>
            <a:ext cx="2470150" cy="200055"/>
          </a:xfrm>
        </p:spPr>
        <p:txBody>
          <a:bodyPr/>
          <a:lstStyle>
            <a:lvl1pPr>
              <a:defRPr sz="1300" b="1" i="0">
                <a:latin typeface="Helvetica" pitchFamily="2" charset="0"/>
              </a:defRPr>
            </a:lvl1pPr>
            <a:lvl2pPr>
              <a:defRPr sz="1300" b="1" i="0">
                <a:latin typeface="Helvetica" pitchFamily="2" charset="0"/>
              </a:defRPr>
            </a:lvl2pPr>
            <a:lvl3pPr>
              <a:defRPr sz="1300" b="1" i="0">
                <a:latin typeface="Helvetica" pitchFamily="2" charset="0"/>
              </a:defRPr>
            </a:lvl3pPr>
            <a:lvl4pPr>
              <a:defRPr sz="1300" b="1" i="0">
                <a:latin typeface="Helvetica" pitchFamily="2" charset="0"/>
              </a:defRPr>
            </a:lvl4pPr>
            <a:lvl5pPr>
              <a:defRPr sz="1300" b="1" i="0">
                <a:latin typeface="Helvetica" pitchFamily="2" charset="0"/>
              </a:defRPr>
            </a:lvl5pPr>
          </a:lstStyle>
          <a:p>
            <a:pPr lvl="0"/>
            <a:endParaRPr lang="it-IT" dirty="0"/>
          </a:p>
        </p:txBody>
      </p:sp>
      <p:sp>
        <p:nvSpPr>
          <p:cNvPr id="50" name="Holder 4"/>
          <p:cNvSpPr>
            <a:spLocks noGrp="1"/>
          </p:cNvSpPr>
          <p:nvPr>
            <p:ph sz="half" idx="41"/>
          </p:nvPr>
        </p:nvSpPr>
        <p:spPr>
          <a:xfrm>
            <a:off x="11938826" y="6205635"/>
            <a:ext cx="2458085" cy="1939763"/>
          </a:xfrm>
          <a:prstGeom prst="rect">
            <a:avLst/>
          </a:prstGeom>
          <a:solidFill>
            <a:srgbClr val="E5E5E5"/>
          </a:solidFill>
        </p:spPr>
        <p:txBody>
          <a:bodyPr/>
          <a:lstStyle>
            <a:lvl1pPr>
              <a:defRPr/>
            </a:lvl1pPr>
          </a:lstStyle>
          <a:p>
            <a:endParaRPr dirty="0"/>
          </a:p>
        </p:txBody>
      </p:sp>
      <p:sp>
        <p:nvSpPr>
          <p:cNvPr id="51" name="Segnaposto testo 34"/>
          <p:cNvSpPr>
            <a:spLocks noGrp="1"/>
          </p:cNvSpPr>
          <p:nvPr>
            <p:ph type="body" sz="quarter" idx="42"/>
          </p:nvPr>
        </p:nvSpPr>
        <p:spPr>
          <a:xfrm>
            <a:off x="11926458" y="8258643"/>
            <a:ext cx="2470150" cy="200055"/>
          </a:xfrm>
        </p:spPr>
        <p:txBody>
          <a:bodyPr/>
          <a:lstStyle>
            <a:lvl1pPr>
              <a:defRPr sz="1300" b="1" i="0">
                <a:latin typeface="Helvetica" pitchFamily="2" charset="0"/>
              </a:defRPr>
            </a:lvl1pPr>
            <a:lvl2pPr>
              <a:defRPr sz="1300" b="1" i="0">
                <a:latin typeface="Helvetica" pitchFamily="2" charset="0"/>
              </a:defRPr>
            </a:lvl2pPr>
            <a:lvl3pPr>
              <a:defRPr sz="1300" b="1" i="0">
                <a:latin typeface="Helvetica" pitchFamily="2" charset="0"/>
              </a:defRPr>
            </a:lvl3pPr>
            <a:lvl4pPr>
              <a:defRPr sz="1300" b="1" i="0">
                <a:latin typeface="Helvetica" pitchFamily="2" charset="0"/>
              </a:defRPr>
            </a:lvl4pPr>
            <a:lvl5pPr>
              <a:defRPr sz="1300" b="1" i="0">
                <a:latin typeface="Helvetica" pitchFamily="2" charset="0"/>
              </a:defRPr>
            </a:lvl5pPr>
          </a:lstStyle>
          <a:p>
            <a:pPr lvl="0"/>
            <a:endParaRPr lang="it-IT" dirty="0"/>
          </a:p>
        </p:txBody>
      </p:sp>
      <p:sp>
        <p:nvSpPr>
          <p:cNvPr id="52" name="Holder 4"/>
          <p:cNvSpPr>
            <a:spLocks noGrp="1"/>
          </p:cNvSpPr>
          <p:nvPr>
            <p:ph sz="half" idx="43"/>
          </p:nvPr>
        </p:nvSpPr>
        <p:spPr>
          <a:xfrm>
            <a:off x="14562105" y="6205635"/>
            <a:ext cx="2458085" cy="1939763"/>
          </a:xfrm>
          <a:prstGeom prst="rect">
            <a:avLst/>
          </a:prstGeom>
          <a:solidFill>
            <a:srgbClr val="E5E5E5"/>
          </a:solidFill>
        </p:spPr>
        <p:txBody>
          <a:bodyPr/>
          <a:lstStyle>
            <a:lvl1pPr>
              <a:defRPr/>
            </a:lvl1pPr>
          </a:lstStyle>
          <a:p>
            <a:endParaRPr dirty="0"/>
          </a:p>
        </p:txBody>
      </p:sp>
      <p:sp>
        <p:nvSpPr>
          <p:cNvPr id="53" name="Segnaposto testo 34"/>
          <p:cNvSpPr>
            <a:spLocks noGrp="1"/>
          </p:cNvSpPr>
          <p:nvPr>
            <p:ph type="body" sz="quarter" idx="44"/>
          </p:nvPr>
        </p:nvSpPr>
        <p:spPr>
          <a:xfrm>
            <a:off x="14549737" y="8258643"/>
            <a:ext cx="2470150" cy="200055"/>
          </a:xfrm>
        </p:spPr>
        <p:txBody>
          <a:bodyPr/>
          <a:lstStyle>
            <a:lvl1pPr>
              <a:defRPr sz="1300" b="1" i="0">
                <a:latin typeface="Helvetica" pitchFamily="2" charset="0"/>
              </a:defRPr>
            </a:lvl1pPr>
            <a:lvl2pPr>
              <a:defRPr sz="1300" b="1" i="0">
                <a:latin typeface="Helvetica" pitchFamily="2" charset="0"/>
              </a:defRPr>
            </a:lvl2pPr>
            <a:lvl3pPr>
              <a:defRPr sz="1300" b="1" i="0">
                <a:latin typeface="Helvetica" pitchFamily="2" charset="0"/>
              </a:defRPr>
            </a:lvl3pPr>
            <a:lvl4pPr>
              <a:defRPr sz="1300" b="1" i="0">
                <a:latin typeface="Helvetica" pitchFamily="2" charset="0"/>
              </a:defRPr>
            </a:lvl4pPr>
            <a:lvl5pPr>
              <a:defRPr sz="1300" b="1" i="0">
                <a:latin typeface="Helvetica" pitchFamily="2" charset="0"/>
              </a:defRPr>
            </a:lvl5pPr>
          </a:lstStyle>
          <a:p>
            <a:pPr lvl="0"/>
            <a:endParaRPr lang="it-IT" dirty="0"/>
          </a:p>
        </p:txBody>
      </p:sp>
      <p:sp>
        <p:nvSpPr>
          <p:cNvPr id="54" name="Holder 4"/>
          <p:cNvSpPr>
            <a:spLocks noGrp="1"/>
          </p:cNvSpPr>
          <p:nvPr>
            <p:ph sz="half" idx="45"/>
          </p:nvPr>
        </p:nvSpPr>
        <p:spPr>
          <a:xfrm>
            <a:off x="2869777" y="8550275"/>
            <a:ext cx="2458085" cy="1939763"/>
          </a:xfrm>
          <a:prstGeom prst="rect">
            <a:avLst/>
          </a:prstGeom>
          <a:solidFill>
            <a:srgbClr val="E5E5E5"/>
          </a:solidFill>
        </p:spPr>
        <p:txBody>
          <a:bodyPr/>
          <a:lstStyle>
            <a:lvl1pPr>
              <a:defRPr/>
            </a:lvl1pPr>
          </a:lstStyle>
          <a:p>
            <a:endParaRPr dirty="0"/>
          </a:p>
        </p:txBody>
      </p:sp>
      <p:sp>
        <p:nvSpPr>
          <p:cNvPr id="55" name="Segnaposto testo 34"/>
          <p:cNvSpPr>
            <a:spLocks noGrp="1"/>
          </p:cNvSpPr>
          <p:nvPr>
            <p:ph type="body" sz="quarter" idx="46"/>
          </p:nvPr>
        </p:nvSpPr>
        <p:spPr>
          <a:xfrm>
            <a:off x="2857409" y="10603283"/>
            <a:ext cx="2470150" cy="200055"/>
          </a:xfrm>
        </p:spPr>
        <p:txBody>
          <a:bodyPr/>
          <a:lstStyle>
            <a:lvl1pPr>
              <a:defRPr sz="1300" b="1" i="0">
                <a:latin typeface="Helvetica" pitchFamily="2" charset="0"/>
              </a:defRPr>
            </a:lvl1pPr>
            <a:lvl2pPr>
              <a:defRPr sz="1300" b="1" i="0">
                <a:latin typeface="Helvetica" pitchFamily="2" charset="0"/>
              </a:defRPr>
            </a:lvl2pPr>
            <a:lvl3pPr>
              <a:defRPr sz="1300" b="1" i="0">
                <a:latin typeface="Helvetica" pitchFamily="2" charset="0"/>
              </a:defRPr>
            </a:lvl3pPr>
            <a:lvl4pPr>
              <a:defRPr sz="1300" b="1" i="0">
                <a:latin typeface="Helvetica" pitchFamily="2" charset="0"/>
              </a:defRPr>
            </a:lvl4pPr>
            <a:lvl5pPr>
              <a:defRPr sz="1300" b="1" i="0">
                <a:latin typeface="Helvetica" pitchFamily="2" charset="0"/>
              </a:defRPr>
            </a:lvl5pPr>
          </a:lstStyle>
          <a:p>
            <a:pPr lvl="0"/>
            <a:endParaRPr lang="it-IT" dirty="0"/>
          </a:p>
        </p:txBody>
      </p:sp>
      <p:sp>
        <p:nvSpPr>
          <p:cNvPr id="56" name="Holder 4"/>
          <p:cNvSpPr>
            <a:spLocks noGrp="1"/>
          </p:cNvSpPr>
          <p:nvPr>
            <p:ph sz="half" idx="47"/>
          </p:nvPr>
        </p:nvSpPr>
        <p:spPr>
          <a:xfrm>
            <a:off x="5493055" y="8550275"/>
            <a:ext cx="2458085" cy="1939763"/>
          </a:xfrm>
          <a:prstGeom prst="rect">
            <a:avLst/>
          </a:prstGeom>
          <a:solidFill>
            <a:srgbClr val="E5E5E5"/>
          </a:solidFill>
        </p:spPr>
        <p:txBody>
          <a:bodyPr/>
          <a:lstStyle>
            <a:lvl1pPr>
              <a:defRPr/>
            </a:lvl1pPr>
          </a:lstStyle>
          <a:p>
            <a:endParaRPr dirty="0"/>
          </a:p>
        </p:txBody>
      </p:sp>
      <p:sp>
        <p:nvSpPr>
          <p:cNvPr id="57" name="Segnaposto testo 34"/>
          <p:cNvSpPr>
            <a:spLocks noGrp="1"/>
          </p:cNvSpPr>
          <p:nvPr>
            <p:ph type="body" sz="quarter" idx="48"/>
          </p:nvPr>
        </p:nvSpPr>
        <p:spPr>
          <a:xfrm>
            <a:off x="5480687" y="10603283"/>
            <a:ext cx="2470150" cy="200055"/>
          </a:xfrm>
        </p:spPr>
        <p:txBody>
          <a:bodyPr/>
          <a:lstStyle>
            <a:lvl1pPr>
              <a:defRPr sz="1300" b="1" i="0">
                <a:latin typeface="Helvetica" pitchFamily="2" charset="0"/>
              </a:defRPr>
            </a:lvl1pPr>
            <a:lvl2pPr>
              <a:defRPr sz="1300" b="1" i="0">
                <a:latin typeface="Helvetica" pitchFamily="2" charset="0"/>
              </a:defRPr>
            </a:lvl2pPr>
            <a:lvl3pPr>
              <a:defRPr sz="1300" b="1" i="0">
                <a:latin typeface="Helvetica" pitchFamily="2" charset="0"/>
              </a:defRPr>
            </a:lvl3pPr>
            <a:lvl4pPr>
              <a:defRPr sz="1300" b="1" i="0">
                <a:latin typeface="Helvetica" pitchFamily="2" charset="0"/>
              </a:defRPr>
            </a:lvl4pPr>
            <a:lvl5pPr>
              <a:defRPr sz="1300" b="1" i="0">
                <a:latin typeface="Helvetica" pitchFamily="2" charset="0"/>
              </a:defRPr>
            </a:lvl5pPr>
          </a:lstStyle>
          <a:p>
            <a:pPr lvl="0"/>
            <a:endParaRPr lang="it-IT" dirty="0"/>
          </a:p>
        </p:txBody>
      </p:sp>
      <p:sp>
        <p:nvSpPr>
          <p:cNvPr id="60" name="Holder 4"/>
          <p:cNvSpPr>
            <a:spLocks noGrp="1"/>
          </p:cNvSpPr>
          <p:nvPr>
            <p:ph sz="half" idx="51"/>
          </p:nvPr>
        </p:nvSpPr>
        <p:spPr>
          <a:xfrm>
            <a:off x="11938826" y="8550275"/>
            <a:ext cx="2458085" cy="1939763"/>
          </a:xfrm>
          <a:prstGeom prst="rect">
            <a:avLst/>
          </a:prstGeom>
          <a:solidFill>
            <a:srgbClr val="E5E5E5"/>
          </a:solidFill>
        </p:spPr>
        <p:txBody>
          <a:bodyPr/>
          <a:lstStyle>
            <a:lvl1pPr>
              <a:defRPr/>
            </a:lvl1pPr>
          </a:lstStyle>
          <a:p>
            <a:endParaRPr dirty="0"/>
          </a:p>
        </p:txBody>
      </p:sp>
      <p:sp>
        <p:nvSpPr>
          <p:cNvPr id="61" name="Segnaposto testo 34"/>
          <p:cNvSpPr>
            <a:spLocks noGrp="1"/>
          </p:cNvSpPr>
          <p:nvPr>
            <p:ph type="body" sz="quarter" idx="52"/>
          </p:nvPr>
        </p:nvSpPr>
        <p:spPr>
          <a:xfrm>
            <a:off x="11926458" y="10603283"/>
            <a:ext cx="2470150" cy="200055"/>
          </a:xfrm>
        </p:spPr>
        <p:txBody>
          <a:bodyPr/>
          <a:lstStyle>
            <a:lvl1pPr>
              <a:defRPr sz="1300" b="1" i="0">
                <a:latin typeface="Helvetica" pitchFamily="2" charset="0"/>
              </a:defRPr>
            </a:lvl1pPr>
            <a:lvl2pPr>
              <a:defRPr sz="1300" b="1" i="0">
                <a:latin typeface="Helvetica" pitchFamily="2" charset="0"/>
              </a:defRPr>
            </a:lvl2pPr>
            <a:lvl3pPr>
              <a:defRPr sz="1300" b="1" i="0">
                <a:latin typeface="Helvetica" pitchFamily="2" charset="0"/>
              </a:defRPr>
            </a:lvl3pPr>
            <a:lvl4pPr>
              <a:defRPr sz="1300" b="1" i="0">
                <a:latin typeface="Helvetica" pitchFamily="2" charset="0"/>
              </a:defRPr>
            </a:lvl4pPr>
            <a:lvl5pPr>
              <a:defRPr sz="1300" b="1" i="0">
                <a:latin typeface="Helvetica" pitchFamily="2" charset="0"/>
              </a:defRPr>
            </a:lvl5pPr>
          </a:lstStyle>
          <a:p>
            <a:pPr lvl="0"/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178439909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1365250" y="2530475"/>
            <a:ext cx="17088486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400" b="1" i="0">
                <a:latin typeface="Helvetica" pitchFamily="2" charset="0"/>
              </a:defRPr>
            </a:lvl1pPr>
          </a:lstStyle>
          <a:p>
            <a:endParaRPr dirty="0"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365250" y="3292475"/>
            <a:ext cx="17117117" cy="276999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54844623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1365250" y="2530475"/>
            <a:ext cx="17088486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400" b="1" i="0">
                <a:latin typeface="Helvetica" pitchFamily="2" charset="0"/>
              </a:defRPr>
            </a:lvl1pPr>
          </a:lstStyle>
          <a:p>
            <a:endParaRPr dirty="0"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365250" y="3292475"/>
            <a:ext cx="17117117" cy="276999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27828643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Predmet 1" hidden="1">
            <a:extLst>
              <a:ext uri="{FF2B5EF4-FFF2-40B4-BE49-F238E27FC236}">
                <a16:creationId xmlns:a16="http://schemas.microsoft.com/office/drawing/2014/main" id="{3E47BF47-90F5-C130-9401-5A23EED761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2" name="Predmet 1" hidden="1">
                        <a:extLst>
                          <a:ext uri="{FF2B5EF4-FFF2-40B4-BE49-F238E27FC236}">
                            <a16:creationId xmlns:a16="http://schemas.microsoft.com/office/drawing/2014/main" id="{3E47BF47-90F5-C130-9401-5A23EED7617F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bg object 16">
            <a:extLst>
              <a:ext uri="{FF2B5EF4-FFF2-40B4-BE49-F238E27FC236}">
                <a16:creationId xmlns:a16="http://schemas.microsoft.com/office/drawing/2014/main" id="{241E967A-29A0-AEB7-463B-D0C69BEA0D16}"/>
              </a:ext>
            </a:extLst>
          </p:cNvPr>
          <p:cNvSpPr>
            <a:spLocks/>
          </p:cNvSpPr>
          <p:nvPr userDrawn="1"/>
        </p:nvSpPr>
        <p:spPr bwMode="auto">
          <a:xfrm>
            <a:off x="0" y="15875"/>
            <a:ext cx="20104100" cy="1530350"/>
          </a:xfrm>
          <a:custGeom>
            <a:avLst/>
            <a:gdLst>
              <a:gd name="T0" fmla="*/ 0 w 20104100"/>
              <a:gd name="T1" fmla="*/ 1530592 h 1530985"/>
              <a:gd name="T2" fmla="*/ 20104099 w 20104100"/>
              <a:gd name="T3" fmla="*/ 1530592 h 1530985"/>
              <a:gd name="T4" fmla="*/ 20104099 w 20104100"/>
              <a:gd name="T5" fmla="*/ 0 h 1530985"/>
              <a:gd name="T6" fmla="*/ 0 w 20104100"/>
              <a:gd name="T7" fmla="*/ 0 h 1530985"/>
              <a:gd name="T8" fmla="*/ 0 w 20104100"/>
              <a:gd name="T9" fmla="*/ 1530592 h 15309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0104100" h="1530985">
                <a:moveTo>
                  <a:pt x="0" y="1530592"/>
                </a:moveTo>
                <a:lnTo>
                  <a:pt x="20104099" y="1530592"/>
                </a:lnTo>
                <a:lnTo>
                  <a:pt x="20104099" y="0"/>
                </a:lnTo>
                <a:lnTo>
                  <a:pt x="0" y="0"/>
                </a:lnTo>
                <a:lnTo>
                  <a:pt x="0" y="1530592"/>
                </a:lnTo>
                <a:close/>
              </a:path>
            </a:pathLst>
          </a:custGeom>
          <a:solidFill>
            <a:srgbClr val="767B6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en-AU"/>
          </a:p>
        </p:txBody>
      </p:sp>
      <p:sp>
        <p:nvSpPr>
          <p:cNvPr id="4" name="Holder 2">
            <a:extLst>
              <a:ext uri="{FF2B5EF4-FFF2-40B4-BE49-F238E27FC236}">
                <a16:creationId xmlns:a16="http://schemas.microsoft.com/office/drawing/2014/main" id="{A3B886C0-B241-16DE-F9E4-F7A959DF73D4}"/>
              </a:ext>
            </a:extLst>
          </p:cNvPr>
          <p:cNvSpPr txBox="1">
            <a:spLocks/>
          </p:cNvSpPr>
          <p:nvPr userDrawn="1"/>
        </p:nvSpPr>
        <p:spPr>
          <a:xfrm>
            <a:off x="3956050" y="606425"/>
            <a:ext cx="10163175" cy="400050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>
            <a:lvl1pPr>
              <a:defRPr sz="2600" b="1" i="0">
                <a:solidFill>
                  <a:schemeClr val="bg1"/>
                </a:solidFill>
                <a:latin typeface="Helvetica" pitchFamily="2" charset="0"/>
                <a:ea typeface="+mj-ea"/>
                <a:cs typeface="Helvetica Neue"/>
              </a:defRPr>
            </a:lvl1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it-IT" b="0" kern="0" spc="300" dirty="0">
                <a:latin typeface="Helvetica Light" panose="020B0403020202020204" pitchFamily="34" charset="0"/>
              </a:rPr>
              <a:t>COLLECTION</a:t>
            </a:r>
          </a:p>
        </p:txBody>
      </p:sp>
      <p:sp>
        <p:nvSpPr>
          <p:cNvPr id="5" name="Holder 2">
            <a:extLst>
              <a:ext uri="{FF2B5EF4-FFF2-40B4-BE49-F238E27FC236}">
                <a16:creationId xmlns:a16="http://schemas.microsoft.com/office/drawing/2014/main" id="{F709B4C7-B3BB-5E92-516B-E6AD893FEFCA}"/>
              </a:ext>
            </a:extLst>
          </p:cNvPr>
          <p:cNvSpPr txBox="1">
            <a:spLocks/>
          </p:cNvSpPr>
          <p:nvPr userDrawn="1"/>
        </p:nvSpPr>
        <p:spPr>
          <a:xfrm>
            <a:off x="679450" y="606425"/>
            <a:ext cx="3505200" cy="400050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>
            <a:lvl1pPr>
              <a:defRPr sz="2600" b="1" i="0">
                <a:solidFill>
                  <a:schemeClr val="bg1"/>
                </a:solidFill>
                <a:latin typeface="Helvetica" pitchFamily="2" charset="0"/>
                <a:ea typeface="+mj-ea"/>
                <a:cs typeface="Helvetica Neue"/>
              </a:defRPr>
            </a:lvl1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it-IT" spc="600" dirty="0"/>
              <a:t>CAMPERVANS</a:t>
            </a:r>
            <a:endParaRPr lang="it-IT" kern="0" spc="600" dirty="0"/>
          </a:p>
        </p:txBody>
      </p:sp>
      <p:sp>
        <p:nvSpPr>
          <p:cNvPr id="6" name="object 2">
            <a:extLst>
              <a:ext uri="{FF2B5EF4-FFF2-40B4-BE49-F238E27FC236}">
                <a16:creationId xmlns:a16="http://schemas.microsoft.com/office/drawing/2014/main" id="{CA869852-B117-F454-F3A9-B73F4FCB7E69}"/>
              </a:ext>
            </a:extLst>
          </p:cNvPr>
          <p:cNvSpPr>
            <a:spLocks/>
          </p:cNvSpPr>
          <p:nvPr userDrawn="1"/>
        </p:nvSpPr>
        <p:spPr bwMode="auto">
          <a:xfrm>
            <a:off x="16451263" y="663575"/>
            <a:ext cx="3090862" cy="254000"/>
          </a:xfrm>
          <a:custGeom>
            <a:avLst/>
            <a:gdLst>
              <a:gd name="T0" fmla="*/ 343852 w 3090544"/>
              <a:gd name="T1" fmla="*/ 175133 h 253365"/>
              <a:gd name="T2" fmla="*/ 293979 w 3090544"/>
              <a:gd name="T3" fmla="*/ 165417 h 253365"/>
              <a:gd name="T4" fmla="*/ 266420 w 3090544"/>
              <a:gd name="T5" fmla="*/ 207365 h 253365"/>
              <a:gd name="T6" fmla="*/ 293979 w 3090544"/>
              <a:gd name="T7" fmla="*/ 249301 h 253365"/>
              <a:gd name="T8" fmla="*/ 343852 w 3090544"/>
              <a:gd name="T9" fmla="*/ 239534 h 253365"/>
              <a:gd name="T10" fmla="*/ 622452 w 3090544"/>
              <a:gd name="T11" fmla="*/ 246989 h 253365"/>
              <a:gd name="T12" fmla="*/ 413931 w 3090544"/>
              <a:gd name="T13" fmla="*/ 7061 h 253365"/>
              <a:gd name="T14" fmla="*/ 75628 w 3090544"/>
              <a:gd name="T15" fmla="*/ 9728 h 253365"/>
              <a:gd name="T16" fmla="*/ 0 w 3090544"/>
              <a:gd name="T17" fmla="*/ 123494 h 253365"/>
              <a:gd name="T18" fmla="*/ 75628 w 3090544"/>
              <a:gd name="T19" fmla="*/ 237286 h 253365"/>
              <a:gd name="T20" fmla="*/ 238823 w 3090544"/>
              <a:gd name="T21" fmla="*/ 203530 h 253365"/>
              <a:gd name="T22" fmla="*/ 164350 w 3090544"/>
              <a:gd name="T23" fmla="*/ 153962 h 253365"/>
              <a:gd name="T24" fmla="*/ 181749 w 3090544"/>
              <a:gd name="T25" fmla="*/ 65608 h 253365"/>
              <a:gd name="T26" fmla="*/ 258483 w 3090544"/>
              <a:gd name="T27" fmla="*/ 44411 h 253365"/>
              <a:gd name="T28" fmla="*/ 303085 w 3090544"/>
              <a:gd name="T29" fmla="*/ 74142 h 253365"/>
              <a:gd name="T30" fmla="*/ 1268044 w 3090544"/>
              <a:gd name="T31" fmla="*/ 248894 h 253365"/>
              <a:gd name="T32" fmla="*/ 1146378 w 3090544"/>
              <a:gd name="T33" fmla="*/ 92595 h 253365"/>
              <a:gd name="T34" fmla="*/ 1023289 w 3090544"/>
              <a:gd name="T35" fmla="*/ 174459 h 253365"/>
              <a:gd name="T36" fmla="*/ 1023289 w 3090544"/>
              <a:gd name="T37" fmla="*/ 174459 h 253365"/>
              <a:gd name="T38" fmla="*/ 906818 w 3090544"/>
              <a:gd name="T39" fmla="*/ 52743 h 253365"/>
              <a:gd name="T40" fmla="*/ 864831 w 3090544"/>
              <a:gd name="T41" fmla="*/ 218249 h 253365"/>
              <a:gd name="T42" fmla="*/ 1268044 w 3090544"/>
              <a:gd name="T43" fmla="*/ 248894 h 253365"/>
              <a:gd name="T44" fmla="*/ 1706829 w 3090544"/>
              <a:gd name="T45" fmla="*/ 43764 h 253365"/>
              <a:gd name="T46" fmla="*/ 1585315 w 3090544"/>
              <a:gd name="T47" fmla="*/ 2298 h 253365"/>
              <a:gd name="T48" fmla="*/ 1564487 w 3090544"/>
              <a:gd name="T49" fmla="*/ 183870 h 253365"/>
              <a:gd name="T50" fmla="*/ 1458353 w 3090544"/>
              <a:gd name="T51" fmla="*/ 205105 h 253365"/>
              <a:gd name="T52" fmla="*/ 1538414 w 3090544"/>
              <a:gd name="T53" fmla="*/ 49377 h 253365"/>
              <a:gd name="T54" fmla="*/ 1585315 w 3090544"/>
              <a:gd name="T55" fmla="*/ 124942 h 253365"/>
              <a:gd name="T56" fmla="*/ 1301597 w 3090544"/>
              <a:gd name="T57" fmla="*/ 0 h 253365"/>
              <a:gd name="T58" fmla="*/ 1604314 w 3090544"/>
              <a:gd name="T59" fmla="*/ 245668 h 253365"/>
              <a:gd name="T60" fmla="*/ 1735251 w 3090544"/>
              <a:gd name="T61" fmla="*/ 164058 h 253365"/>
              <a:gd name="T62" fmla="*/ 2206523 w 3090544"/>
              <a:gd name="T63" fmla="*/ 157530 h 253365"/>
              <a:gd name="T64" fmla="*/ 2261095 w 3090544"/>
              <a:gd name="T65" fmla="*/ 106921 h 253365"/>
              <a:gd name="T66" fmla="*/ 2252942 w 3090544"/>
              <a:gd name="T67" fmla="*/ 43802 h 253365"/>
              <a:gd name="T68" fmla="*/ 2154047 w 3090544"/>
              <a:gd name="T69" fmla="*/ 0 h 253365"/>
              <a:gd name="T70" fmla="*/ 1977072 w 3090544"/>
              <a:gd name="T71" fmla="*/ 248894 h 253365"/>
              <a:gd name="T72" fmla="*/ 2073948 w 3090544"/>
              <a:gd name="T73" fmla="*/ 47777 h 253365"/>
              <a:gd name="T74" fmla="*/ 2104517 w 3090544"/>
              <a:gd name="T75" fmla="*/ 89331 h 253365"/>
              <a:gd name="T76" fmla="*/ 2063915 w 3090544"/>
              <a:gd name="T77" fmla="*/ 136613 h 253365"/>
              <a:gd name="T78" fmla="*/ 2081834 w 3090544"/>
              <a:gd name="T79" fmla="*/ 248894 h 253365"/>
              <a:gd name="T80" fmla="*/ 2366886 w 3090544"/>
              <a:gd name="T81" fmla="*/ 12 h 253365"/>
              <a:gd name="T82" fmla="*/ 2523629 w 3090544"/>
              <a:gd name="T83" fmla="*/ 12 h 253365"/>
              <a:gd name="T84" fmla="*/ 3032163 w 3090544"/>
              <a:gd name="T85" fmla="*/ 174459 h 253365"/>
              <a:gd name="T86" fmla="*/ 2845473 w 3090544"/>
              <a:gd name="T87" fmla="*/ 0 h 253365"/>
              <a:gd name="T88" fmla="*/ 2782201 w 3090544"/>
              <a:gd name="T89" fmla="*/ 92595 h 253365"/>
              <a:gd name="T90" fmla="*/ 2688132 w 3090544"/>
              <a:gd name="T91" fmla="*/ 0 h 253365"/>
              <a:gd name="T92" fmla="*/ 2661729 w 3090544"/>
              <a:gd name="T93" fmla="*/ 248894 h 253365"/>
              <a:gd name="T94" fmla="*/ 2902902 w 3090544"/>
              <a:gd name="T95" fmla="*/ 248894 h 25336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3090544" h="253365">
                <a:moveTo>
                  <a:pt x="357009" y="207365"/>
                </a:moveTo>
                <a:lnTo>
                  <a:pt x="353491" y="189585"/>
                </a:lnTo>
                <a:lnTo>
                  <a:pt x="343852" y="175133"/>
                </a:lnTo>
                <a:lnTo>
                  <a:pt x="329476" y="165417"/>
                </a:lnTo>
                <a:lnTo>
                  <a:pt x="311746" y="161861"/>
                </a:lnTo>
                <a:lnTo>
                  <a:pt x="293979" y="165417"/>
                </a:lnTo>
                <a:lnTo>
                  <a:pt x="279577" y="175133"/>
                </a:lnTo>
                <a:lnTo>
                  <a:pt x="269938" y="189585"/>
                </a:lnTo>
                <a:lnTo>
                  <a:pt x="266420" y="207365"/>
                </a:lnTo>
                <a:lnTo>
                  <a:pt x="269938" y="225056"/>
                </a:lnTo>
                <a:lnTo>
                  <a:pt x="279577" y="239534"/>
                </a:lnTo>
                <a:lnTo>
                  <a:pt x="293979" y="249301"/>
                </a:lnTo>
                <a:lnTo>
                  <a:pt x="311746" y="252895"/>
                </a:lnTo>
                <a:lnTo>
                  <a:pt x="329476" y="249301"/>
                </a:lnTo>
                <a:lnTo>
                  <a:pt x="343852" y="239534"/>
                </a:lnTo>
                <a:lnTo>
                  <a:pt x="353491" y="225056"/>
                </a:lnTo>
                <a:lnTo>
                  <a:pt x="357009" y="207365"/>
                </a:lnTo>
                <a:close/>
              </a:path>
              <a:path w="3090544" h="253365">
                <a:moveTo>
                  <a:pt x="622452" y="246989"/>
                </a:moveTo>
                <a:lnTo>
                  <a:pt x="493928" y="81991"/>
                </a:lnTo>
                <a:lnTo>
                  <a:pt x="469874" y="51904"/>
                </a:lnTo>
                <a:lnTo>
                  <a:pt x="413931" y="7061"/>
                </a:lnTo>
                <a:lnTo>
                  <a:pt x="377621" y="12"/>
                </a:lnTo>
                <a:lnTo>
                  <a:pt x="123710" y="12"/>
                </a:lnTo>
                <a:lnTo>
                  <a:pt x="75628" y="9728"/>
                </a:lnTo>
                <a:lnTo>
                  <a:pt x="36296" y="36195"/>
                </a:lnTo>
                <a:lnTo>
                  <a:pt x="9740" y="75450"/>
                </a:lnTo>
                <a:lnTo>
                  <a:pt x="0" y="123494"/>
                </a:lnTo>
                <a:lnTo>
                  <a:pt x="9740" y="171564"/>
                </a:lnTo>
                <a:lnTo>
                  <a:pt x="36296" y="210820"/>
                </a:lnTo>
                <a:lnTo>
                  <a:pt x="75628" y="237286"/>
                </a:lnTo>
                <a:lnTo>
                  <a:pt x="123710" y="246989"/>
                </a:lnTo>
                <a:lnTo>
                  <a:pt x="238823" y="246989"/>
                </a:lnTo>
                <a:lnTo>
                  <a:pt x="238823" y="203530"/>
                </a:lnTo>
                <a:lnTo>
                  <a:pt x="207429" y="197129"/>
                </a:lnTo>
                <a:lnTo>
                  <a:pt x="181724" y="179705"/>
                </a:lnTo>
                <a:lnTo>
                  <a:pt x="164350" y="153962"/>
                </a:lnTo>
                <a:lnTo>
                  <a:pt x="157975" y="122542"/>
                </a:lnTo>
                <a:lnTo>
                  <a:pt x="164363" y="91198"/>
                </a:lnTo>
                <a:lnTo>
                  <a:pt x="181749" y="65608"/>
                </a:lnTo>
                <a:lnTo>
                  <a:pt x="207530" y="48361"/>
                </a:lnTo>
                <a:lnTo>
                  <a:pt x="239064" y="42037"/>
                </a:lnTo>
                <a:lnTo>
                  <a:pt x="258483" y="44411"/>
                </a:lnTo>
                <a:lnTo>
                  <a:pt x="275844" y="51041"/>
                </a:lnTo>
                <a:lnTo>
                  <a:pt x="290817" y="61201"/>
                </a:lnTo>
                <a:lnTo>
                  <a:pt x="303085" y="74142"/>
                </a:lnTo>
                <a:lnTo>
                  <a:pt x="436664" y="246989"/>
                </a:lnTo>
                <a:lnTo>
                  <a:pt x="622452" y="246989"/>
                </a:lnTo>
                <a:close/>
              </a:path>
              <a:path w="3090544" h="253365">
                <a:moveTo>
                  <a:pt x="1268044" y="248894"/>
                </a:moveTo>
                <a:lnTo>
                  <a:pt x="1244193" y="218249"/>
                </a:lnTo>
                <a:lnTo>
                  <a:pt x="1210106" y="174459"/>
                </a:lnTo>
                <a:lnTo>
                  <a:pt x="1146378" y="92595"/>
                </a:lnTo>
                <a:lnTo>
                  <a:pt x="1074293" y="0"/>
                </a:lnTo>
                <a:lnTo>
                  <a:pt x="1023289" y="0"/>
                </a:lnTo>
                <a:lnTo>
                  <a:pt x="1023289" y="174459"/>
                </a:lnTo>
                <a:lnTo>
                  <a:pt x="894892" y="174459"/>
                </a:lnTo>
                <a:lnTo>
                  <a:pt x="960107" y="92595"/>
                </a:lnTo>
                <a:lnTo>
                  <a:pt x="1023289" y="174459"/>
                </a:lnTo>
                <a:lnTo>
                  <a:pt x="1023289" y="0"/>
                </a:lnTo>
                <a:lnTo>
                  <a:pt x="866051" y="0"/>
                </a:lnTo>
                <a:lnTo>
                  <a:pt x="906818" y="52743"/>
                </a:lnTo>
                <a:lnTo>
                  <a:pt x="746315" y="248894"/>
                </a:lnTo>
                <a:lnTo>
                  <a:pt x="839660" y="248894"/>
                </a:lnTo>
                <a:lnTo>
                  <a:pt x="864831" y="218249"/>
                </a:lnTo>
                <a:lnTo>
                  <a:pt x="1057160" y="218249"/>
                </a:lnTo>
                <a:lnTo>
                  <a:pt x="1080795" y="248894"/>
                </a:lnTo>
                <a:lnTo>
                  <a:pt x="1268044" y="248894"/>
                </a:lnTo>
                <a:close/>
              </a:path>
              <a:path w="3090544" h="253365">
                <a:moveTo>
                  <a:pt x="1740636" y="125158"/>
                </a:moveTo>
                <a:lnTo>
                  <a:pt x="1735315" y="86347"/>
                </a:lnTo>
                <a:lnTo>
                  <a:pt x="1706829" y="43764"/>
                </a:lnTo>
                <a:lnTo>
                  <a:pt x="1654098" y="13538"/>
                </a:lnTo>
                <a:lnTo>
                  <a:pt x="1604657" y="3365"/>
                </a:lnTo>
                <a:lnTo>
                  <a:pt x="1585315" y="2298"/>
                </a:lnTo>
                <a:lnTo>
                  <a:pt x="1585315" y="124942"/>
                </a:lnTo>
                <a:lnTo>
                  <a:pt x="1580108" y="158673"/>
                </a:lnTo>
                <a:lnTo>
                  <a:pt x="1564487" y="183870"/>
                </a:lnTo>
                <a:lnTo>
                  <a:pt x="1538516" y="199644"/>
                </a:lnTo>
                <a:lnTo>
                  <a:pt x="1502232" y="205105"/>
                </a:lnTo>
                <a:lnTo>
                  <a:pt x="1458353" y="205105"/>
                </a:lnTo>
                <a:lnTo>
                  <a:pt x="1458353" y="43764"/>
                </a:lnTo>
                <a:lnTo>
                  <a:pt x="1502232" y="43764"/>
                </a:lnTo>
                <a:lnTo>
                  <a:pt x="1538414" y="49377"/>
                </a:lnTo>
                <a:lnTo>
                  <a:pt x="1564398" y="65506"/>
                </a:lnTo>
                <a:lnTo>
                  <a:pt x="1580070" y="91059"/>
                </a:lnTo>
                <a:lnTo>
                  <a:pt x="1585315" y="124942"/>
                </a:lnTo>
                <a:lnTo>
                  <a:pt x="1585315" y="2298"/>
                </a:lnTo>
                <a:lnTo>
                  <a:pt x="1543723" y="0"/>
                </a:lnTo>
                <a:lnTo>
                  <a:pt x="1301597" y="0"/>
                </a:lnTo>
                <a:lnTo>
                  <a:pt x="1301597" y="248894"/>
                </a:lnTo>
                <a:lnTo>
                  <a:pt x="1543723" y="248894"/>
                </a:lnTo>
                <a:lnTo>
                  <a:pt x="1604314" y="245668"/>
                </a:lnTo>
                <a:lnTo>
                  <a:pt x="1653654" y="235839"/>
                </a:lnTo>
                <a:lnTo>
                  <a:pt x="1691855" y="219138"/>
                </a:lnTo>
                <a:lnTo>
                  <a:pt x="1735251" y="164058"/>
                </a:lnTo>
                <a:lnTo>
                  <a:pt x="1740636" y="125158"/>
                </a:lnTo>
                <a:close/>
              </a:path>
              <a:path w="3090544" h="253365">
                <a:moveTo>
                  <a:pt x="2277529" y="248894"/>
                </a:moveTo>
                <a:lnTo>
                  <a:pt x="2206523" y="157530"/>
                </a:lnTo>
                <a:lnTo>
                  <a:pt x="2231339" y="145008"/>
                </a:lnTo>
                <a:lnTo>
                  <a:pt x="2249703" y="127965"/>
                </a:lnTo>
                <a:lnTo>
                  <a:pt x="2261095" y="106921"/>
                </a:lnTo>
                <a:lnTo>
                  <a:pt x="2265019" y="82397"/>
                </a:lnTo>
                <a:lnTo>
                  <a:pt x="2258149" y="50393"/>
                </a:lnTo>
                <a:lnTo>
                  <a:pt x="2252942" y="43802"/>
                </a:lnTo>
                <a:lnTo>
                  <a:pt x="2237448" y="24193"/>
                </a:lnTo>
                <a:lnTo>
                  <a:pt x="2202789" y="6502"/>
                </a:lnTo>
                <a:lnTo>
                  <a:pt x="2154047" y="0"/>
                </a:lnTo>
                <a:lnTo>
                  <a:pt x="1820545" y="0"/>
                </a:lnTo>
                <a:lnTo>
                  <a:pt x="1820545" y="248894"/>
                </a:lnTo>
                <a:lnTo>
                  <a:pt x="1977072" y="248894"/>
                </a:lnTo>
                <a:lnTo>
                  <a:pt x="1977072" y="43802"/>
                </a:lnTo>
                <a:lnTo>
                  <a:pt x="2047989" y="43802"/>
                </a:lnTo>
                <a:lnTo>
                  <a:pt x="2073948" y="47777"/>
                </a:lnTo>
                <a:lnTo>
                  <a:pt x="2091486" y="58178"/>
                </a:lnTo>
                <a:lnTo>
                  <a:pt x="2101392" y="72783"/>
                </a:lnTo>
                <a:lnTo>
                  <a:pt x="2104517" y="89331"/>
                </a:lnTo>
                <a:lnTo>
                  <a:pt x="2098624" y="111201"/>
                </a:lnTo>
                <a:lnTo>
                  <a:pt x="2083714" y="127012"/>
                </a:lnTo>
                <a:lnTo>
                  <a:pt x="2063915" y="136613"/>
                </a:lnTo>
                <a:lnTo>
                  <a:pt x="2043353" y="139852"/>
                </a:lnTo>
                <a:lnTo>
                  <a:pt x="2022157" y="139852"/>
                </a:lnTo>
                <a:lnTo>
                  <a:pt x="2081834" y="248894"/>
                </a:lnTo>
                <a:lnTo>
                  <a:pt x="2277529" y="248894"/>
                </a:lnTo>
                <a:close/>
              </a:path>
              <a:path w="3090544" h="253365">
                <a:moveTo>
                  <a:pt x="2523629" y="12"/>
                </a:moveTo>
                <a:lnTo>
                  <a:pt x="2366886" y="12"/>
                </a:lnTo>
                <a:lnTo>
                  <a:pt x="2366886" y="248894"/>
                </a:lnTo>
                <a:lnTo>
                  <a:pt x="2523629" y="248894"/>
                </a:lnTo>
                <a:lnTo>
                  <a:pt x="2523629" y="12"/>
                </a:lnTo>
                <a:close/>
              </a:path>
              <a:path w="3090544" h="253365">
                <a:moveTo>
                  <a:pt x="3090049" y="248894"/>
                </a:moveTo>
                <a:lnTo>
                  <a:pt x="3066224" y="218249"/>
                </a:lnTo>
                <a:lnTo>
                  <a:pt x="3032163" y="174459"/>
                </a:lnTo>
                <a:lnTo>
                  <a:pt x="2968498" y="92595"/>
                </a:lnTo>
                <a:lnTo>
                  <a:pt x="2896476" y="0"/>
                </a:lnTo>
                <a:lnTo>
                  <a:pt x="2845473" y="0"/>
                </a:lnTo>
                <a:lnTo>
                  <a:pt x="2845473" y="174459"/>
                </a:lnTo>
                <a:lnTo>
                  <a:pt x="2716720" y="174459"/>
                </a:lnTo>
                <a:lnTo>
                  <a:pt x="2782201" y="92595"/>
                </a:lnTo>
                <a:lnTo>
                  <a:pt x="2845473" y="174459"/>
                </a:lnTo>
                <a:lnTo>
                  <a:pt x="2845473" y="0"/>
                </a:lnTo>
                <a:lnTo>
                  <a:pt x="2688132" y="0"/>
                </a:lnTo>
                <a:lnTo>
                  <a:pt x="2728988" y="52743"/>
                </a:lnTo>
                <a:lnTo>
                  <a:pt x="2568397" y="248894"/>
                </a:lnTo>
                <a:lnTo>
                  <a:pt x="2661729" y="248894"/>
                </a:lnTo>
                <a:lnTo>
                  <a:pt x="2686913" y="218249"/>
                </a:lnTo>
                <a:lnTo>
                  <a:pt x="2879267" y="218249"/>
                </a:lnTo>
                <a:lnTo>
                  <a:pt x="2902902" y="248894"/>
                </a:lnTo>
                <a:lnTo>
                  <a:pt x="3090049" y="248894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en-AU"/>
          </a:p>
        </p:txBody>
      </p:sp>
      <p:sp>
        <p:nvSpPr>
          <p:cNvPr id="7" name="object 10">
            <a:extLst>
              <a:ext uri="{FF2B5EF4-FFF2-40B4-BE49-F238E27FC236}">
                <a16:creationId xmlns:a16="http://schemas.microsoft.com/office/drawing/2014/main" id="{F762D7EB-9CCC-26A5-2452-F2780B7C89B6}"/>
              </a:ext>
            </a:extLst>
          </p:cNvPr>
          <p:cNvSpPr txBox="1"/>
          <p:nvPr userDrawn="1"/>
        </p:nvSpPr>
        <p:spPr>
          <a:xfrm>
            <a:off x="787400" y="10320338"/>
            <a:ext cx="2947988" cy="503237"/>
          </a:xfrm>
          <a:prstGeom prst="rect">
            <a:avLst/>
          </a:prstGeom>
          <a:solidFill>
            <a:srgbClr val="B3B1B5">
              <a:alpha val="94902"/>
            </a:srgbClr>
          </a:solidFill>
        </p:spPr>
        <p:txBody>
          <a:bodyPr lIns="0" tIns="129539" rIns="0" bIns="0">
            <a:spAutoFit/>
          </a:bodyPr>
          <a:lstStyle/>
          <a:p>
            <a:pPr algn="ctr" eaLnBrk="1" fontAlgn="auto" hangingPunct="1">
              <a:spcBef>
                <a:spcPts val="1019"/>
              </a:spcBef>
              <a:spcAft>
                <a:spcPts val="0"/>
              </a:spcAft>
              <a:defRPr/>
            </a:pPr>
            <a:r>
              <a:rPr lang="it-IT" sz="1350" b="1" spc="175" dirty="0" err="1">
                <a:solidFill>
                  <a:srgbClr val="FFFFFF"/>
                </a:solidFill>
                <a:latin typeface="Helvetica Neue"/>
                <a:cs typeface="Helvetica Neue"/>
              </a:rPr>
              <a:t>S</a:t>
            </a:r>
            <a:r>
              <a:rPr lang="it-IT" sz="1350" b="1" spc="-80" dirty="0">
                <a:solidFill>
                  <a:srgbClr val="FFFFFF"/>
                </a:solidFill>
                <a:latin typeface="Helvetica Neue"/>
                <a:cs typeface="Helvetica Neue"/>
              </a:rPr>
              <a:t> </a:t>
            </a:r>
            <a:r>
              <a:rPr lang="it-IT" sz="1350" b="1" spc="535" dirty="0">
                <a:solidFill>
                  <a:srgbClr val="FFFFFF"/>
                </a:solidFill>
                <a:latin typeface="Helvetica Neue"/>
                <a:cs typeface="Helvetica Neue"/>
              </a:rPr>
              <a:t>T</a:t>
            </a:r>
            <a:r>
              <a:rPr lang="it-IT" sz="1350" b="1" spc="340" dirty="0">
                <a:solidFill>
                  <a:srgbClr val="FFFFFF"/>
                </a:solidFill>
                <a:latin typeface="Helvetica Neue"/>
                <a:cs typeface="Helvetica Neue"/>
              </a:rPr>
              <a:t>A</a:t>
            </a:r>
            <a:r>
              <a:rPr lang="it-IT" sz="1350" b="1" spc="370" dirty="0">
                <a:solidFill>
                  <a:srgbClr val="FFFFFF"/>
                </a:solidFill>
                <a:latin typeface="Helvetica Neue"/>
                <a:cs typeface="Helvetica Neue"/>
              </a:rPr>
              <a:t>T</a:t>
            </a:r>
            <a:r>
              <a:rPr lang="it-IT" sz="1350" b="1" spc="-80" dirty="0">
                <a:solidFill>
                  <a:srgbClr val="FFFFFF"/>
                </a:solidFill>
                <a:latin typeface="Helvetica Neue"/>
                <a:cs typeface="Helvetica Neue"/>
              </a:rPr>
              <a:t> </a:t>
            </a:r>
            <a:r>
              <a:rPr lang="it-IT" sz="1350" b="1" spc="225" dirty="0">
                <a:solidFill>
                  <a:srgbClr val="FFFFFF"/>
                </a:solidFill>
                <a:latin typeface="Helvetica Neue"/>
                <a:cs typeface="Helvetica Neue"/>
              </a:rPr>
              <a:t>U</a:t>
            </a:r>
            <a:r>
              <a:rPr lang="it-IT" sz="1350" b="1" spc="-80" dirty="0">
                <a:solidFill>
                  <a:srgbClr val="FFFFFF"/>
                </a:solidFill>
                <a:latin typeface="Helvetica Neue"/>
                <a:cs typeface="Helvetica Neue"/>
              </a:rPr>
              <a:t> </a:t>
            </a:r>
            <a:r>
              <a:rPr lang="it-IT" sz="1350" b="1" spc="175" dirty="0" err="1">
                <a:solidFill>
                  <a:srgbClr val="FFFFFF"/>
                </a:solidFill>
                <a:latin typeface="Helvetica Neue"/>
                <a:cs typeface="Helvetica Neue"/>
              </a:rPr>
              <a:t>S</a:t>
            </a:r>
            <a:endParaRPr lang="it-IT" sz="1350" dirty="0">
              <a:latin typeface="Helvetica Neue"/>
              <a:cs typeface="Helvetica Neue"/>
            </a:endParaRPr>
          </a:p>
        </p:txBody>
      </p:sp>
      <p:sp>
        <p:nvSpPr>
          <p:cNvPr id="8" name="object 12">
            <a:extLst>
              <a:ext uri="{FF2B5EF4-FFF2-40B4-BE49-F238E27FC236}">
                <a16:creationId xmlns:a16="http://schemas.microsoft.com/office/drawing/2014/main" id="{8D0E96A1-2D61-5E5A-00F1-4606E0777335}"/>
              </a:ext>
            </a:extLst>
          </p:cNvPr>
          <p:cNvSpPr txBox="1"/>
          <p:nvPr userDrawn="1"/>
        </p:nvSpPr>
        <p:spPr>
          <a:xfrm>
            <a:off x="3908425" y="10320338"/>
            <a:ext cx="2946400" cy="503237"/>
          </a:xfrm>
          <a:prstGeom prst="rect">
            <a:avLst/>
          </a:prstGeom>
          <a:solidFill>
            <a:srgbClr val="B3B1B5">
              <a:alpha val="94902"/>
            </a:srgbClr>
          </a:solidFill>
        </p:spPr>
        <p:txBody>
          <a:bodyPr lIns="0" tIns="129539" rIns="0" bIns="0">
            <a:spAutoFit/>
          </a:bodyPr>
          <a:lstStyle/>
          <a:p>
            <a:pPr marL="789940" eaLnBrk="1" fontAlgn="auto" hangingPunct="1">
              <a:spcBef>
                <a:spcPts val="1019"/>
              </a:spcBef>
              <a:spcAft>
                <a:spcPts val="0"/>
              </a:spcAft>
              <a:defRPr/>
            </a:pPr>
            <a:r>
              <a:rPr lang="it-IT" sz="1350" b="1" spc="175" dirty="0">
                <a:solidFill>
                  <a:srgbClr val="FFFFFF"/>
                </a:solidFill>
                <a:latin typeface="Helvetica Neue"/>
                <a:cs typeface="Helvetica Neue"/>
              </a:rPr>
              <a:t>A</a:t>
            </a:r>
            <a:r>
              <a:rPr lang="it-IT" sz="1350" b="1" spc="-80" dirty="0">
                <a:solidFill>
                  <a:srgbClr val="FFFFFF"/>
                </a:solidFill>
                <a:latin typeface="Helvetica Neue"/>
                <a:cs typeface="Helvetica Neue"/>
              </a:rPr>
              <a:t> </a:t>
            </a:r>
            <a:r>
              <a:rPr lang="it-IT" sz="1350" b="1" spc="200" dirty="0">
                <a:solidFill>
                  <a:srgbClr val="FFFFFF"/>
                </a:solidFill>
                <a:latin typeface="Helvetica Neue"/>
                <a:cs typeface="Helvetica Neue"/>
              </a:rPr>
              <a:t>D</a:t>
            </a:r>
            <a:r>
              <a:rPr lang="it-IT" sz="1350" b="1" spc="-80" dirty="0">
                <a:solidFill>
                  <a:srgbClr val="FFFFFF"/>
                </a:solidFill>
                <a:latin typeface="Helvetica Neue"/>
                <a:cs typeface="Helvetica Neue"/>
              </a:rPr>
              <a:t> </a:t>
            </a:r>
            <a:r>
              <a:rPr lang="it-IT" sz="1350" b="1" spc="170" dirty="0">
                <a:solidFill>
                  <a:srgbClr val="FFFFFF"/>
                </a:solidFill>
                <a:latin typeface="Helvetica Neue"/>
                <a:cs typeface="Helvetica Neue"/>
              </a:rPr>
              <a:t>V</a:t>
            </a:r>
            <a:r>
              <a:rPr lang="it-IT" sz="1350" b="1" spc="-145" dirty="0">
                <a:solidFill>
                  <a:srgbClr val="FFFFFF"/>
                </a:solidFill>
                <a:latin typeface="Helvetica Neue"/>
                <a:cs typeface="Helvetica Neue"/>
              </a:rPr>
              <a:t> </a:t>
            </a:r>
            <a:r>
              <a:rPr lang="it-IT" sz="1350" b="1" spc="175" dirty="0">
                <a:solidFill>
                  <a:srgbClr val="FFFFFF"/>
                </a:solidFill>
                <a:latin typeface="Helvetica Neue"/>
                <a:cs typeface="Helvetica Neue"/>
              </a:rPr>
              <a:t>A</a:t>
            </a:r>
            <a:r>
              <a:rPr lang="it-IT" sz="1350" b="1" spc="-80" dirty="0">
                <a:solidFill>
                  <a:srgbClr val="FFFFFF"/>
                </a:solidFill>
                <a:latin typeface="Helvetica Neue"/>
                <a:cs typeface="Helvetica Neue"/>
              </a:rPr>
              <a:t> </a:t>
            </a:r>
            <a:r>
              <a:rPr lang="it-IT" sz="1350" b="1" spc="225" dirty="0" err="1">
                <a:solidFill>
                  <a:srgbClr val="FFFFFF"/>
                </a:solidFill>
                <a:latin typeface="Helvetica Neue"/>
                <a:cs typeface="Helvetica Neue"/>
              </a:rPr>
              <a:t>N</a:t>
            </a:r>
            <a:r>
              <a:rPr lang="it-IT" sz="1350" b="1" spc="-80" dirty="0">
                <a:solidFill>
                  <a:srgbClr val="FFFFFF"/>
                </a:solidFill>
                <a:latin typeface="Helvetica Neue"/>
                <a:cs typeface="Helvetica Neue"/>
              </a:rPr>
              <a:t> </a:t>
            </a:r>
            <a:r>
              <a:rPr lang="it-IT" sz="1350" b="1" spc="535" dirty="0">
                <a:solidFill>
                  <a:srgbClr val="FFFFFF"/>
                </a:solidFill>
                <a:latin typeface="Helvetica Neue"/>
                <a:cs typeface="Helvetica Neue"/>
              </a:rPr>
              <a:t>T</a:t>
            </a:r>
            <a:r>
              <a:rPr lang="it-IT" sz="1350" b="1" spc="175" dirty="0">
                <a:solidFill>
                  <a:srgbClr val="FFFFFF"/>
                </a:solidFill>
                <a:latin typeface="Helvetica Neue"/>
                <a:cs typeface="Helvetica Neue"/>
              </a:rPr>
              <a:t>A</a:t>
            </a:r>
            <a:r>
              <a:rPr lang="it-IT" sz="1350" b="1" spc="-80" dirty="0">
                <a:solidFill>
                  <a:srgbClr val="FFFFFF"/>
                </a:solidFill>
                <a:latin typeface="Helvetica Neue"/>
                <a:cs typeface="Helvetica Neue"/>
              </a:rPr>
              <a:t> </a:t>
            </a:r>
            <a:r>
              <a:rPr lang="it-IT" sz="1350" b="1" spc="225" dirty="0">
                <a:solidFill>
                  <a:srgbClr val="FFFFFF"/>
                </a:solidFill>
                <a:latin typeface="Helvetica Neue"/>
                <a:cs typeface="Helvetica Neue"/>
              </a:rPr>
              <a:t>G</a:t>
            </a:r>
            <a:r>
              <a:rPr lang="it-IT" sz="1350" b="1" spc="-80" dirty="0">
                <a:solidFill>
                  <a:srgbClr val="FFFFFF"/>
                </a:solidFill>
                <a:latin typeface="Helvetica Neue"/>
                <a:cs typeface="Helvetica Neue"/>
              </a:rPr>
              <a:t> </a:t>
            </a:r>
            <a:r>
              <a:rPr lang="it-IT" sz="1350" b="1" spc="120" dirty="0">
                <a:solidFill>
                  <a:srgbClr val="FFFFFF"/>
                </a:solidFill>
                <a:latin typeface="Helvetica Neue"/>
                <a:cs typeface="Helvetica Neue"/>
              </a:rPr>
              <a:t>E</a:t>
            </a:r>
            <a:endParaRPr lang="it-IT" sz="1350" dirty="0">
              <a:latin typeface="Helvetica Neue"/>
              <a:cs typeface="Helvetica Neue"/>
            </a:endParaRPr>
          </a:p>
        </p:txBody>
      </p:sp>
      <p:sp>
        <p:nvSpPr>
          <p:cNvPr id="9" name="object 14">
            <a:extLst>
              <a:ext uri="{FF2B5EF4-FFF2-40B4-BE49-F238E27FC236}">
                <a16:creationId xmlns:a16="http://schemas.microsoft.com/office/drawing/2014/main" id="{67351274-FCAB-8D76-AC42-4F432E60A315}"/>
              </a:ext>
            </a:extLst>
          </p:cNvPr>
          <p:cNvSpPr txBox="1"/>
          <p:nvPr userDrawn="1"/>
        </p:nvSpPr>
        <p:spPr>
          <a:xfrm>
            <a:off x="7027863" y="10320338"/>
            <a:ext cx="2946400" cy="503237"/>
          </a:xfrm>
          <a:prstGeom prst="rect">
            <a:avLst/>
          </a:prstGeom>
          <a:solidFill>
            <a:srgbClr val="B3B1B5">
              <a:alpha val="94902"/>
            </a:srgbClr>
          </a:solidFill>
        </p:spPr>
        <p:txBody>
          <a:bodyPr lIns="0" tIns="129539" rIns="0" bIns="0">
            <a:spAutoFit/>
          </a:bodyPr>
          <a:lstStyle/>
          <a:p>
            <a:pPr marL="737870" eaLnBrk="1" fontAlgn="auto" hangingPunct="1">
              <a:spcBef>
                <a:spcPts val="1019"/>
              </a:spcBef>
              <a:spcAft>
                <a:spcPts val="0"/>
              </a:spcAft>
              <a:defRPr/>
            </a:pPr>
            <a:r>
              <a:rPr lang="it-IT" sz="1350" b="1" spc="120" dirty="0">
                <a:solidFill>
                  <a:srgbClr val="FFFFFF"/>
                </a:solidFill>
                <a:latin typeface="Helvetica Neue"/>
                <a:cs typeface="Helvetica Neue"/>
              </a:rPr>
              <a:t>E</a:t>
            </a:r>
            <a:r>
              <a:rPr lang="it-IT" sz="1350" b="1" spc="-90" dirty="0">
                <a:solidFill>
                  <a:srgbClr val="FFFFFF"/>
                </a:solidFill>
                <a:latin typeface="Helvetica Neue"/>
                <a:cs typeface="Helvetica Neue"/>
              </a:rPr>
              <a:t> </a:t>
            </a:r>
            <a:r>
              <a:rPr lang="it-IT" sz="1350" b="1" spc="200" dirty="0">
                <a:solidFill>
                  <a:srgbClr val="FFFFFF"/>
                </a:solidFill>
                <a:latin typeface="Helvetica Neue"/>
                <a:cs typeface="Helvetica Neue"/>
              </a:rPr>
              <a:t>X</a:t>
            </a:r>
            <a:r>
              <a:rPr lang="it-IT" sz="1350" b="1" spc="-85" dirty="0">
                <a:solidFill>
                  <a:srgbClr val="FFFFFF"/>
                </a:solidFill>
                <a:latin typeface="Helvetica Neue"/>
                <a:cs typeface="Helvetica Neue"/>
              </a:rPr>
              <a:t> </a:t>
            </a:r>
            <a:r>
              <a:rPr lang="it-IT" sz="1350" b="1" spc="100" dirty="0" err="1">
                <a:solidFill>
                  <a:srgbClr val="FFFFFF"/>
                </a:solidFill>
                <a:latin typeface="Helvetica Neue"/>
                <a:cs typeface="Helvetica Neue"/>
              </a:rPr>
              <a:t>P</a:t>
            </a:r>
            <a:r>
              <a:rPr lang="it-IT" sz="1350" b="1" spc="-90" dirty="0">
                <a:solidFill>
                  <a:srgbClr val="FFFFFF"/>
                </a:solidFill>
                <a:latin typeface="Helvetica Neue"/>
                <a:cs typeface="Helvetica Neue"/>
              </a:rPr>
              <a:t> </a:t>
            </a:r>
            <a:r>
              <a:rPr lang="it-IT" sz="1350" b="1" spc="120" dirty="0">
                <a:solidFill>
                  <a:srgbClr val="FFFFFF"/>
                </a:solidFill>
                <a:latin typeface="Helvetica Neue"/>
                <a:cs typeface="Helvetica Neue"/>
              </a:rPr>
              <a:t>E</a:t>
            </a:r>
            <a:r>
              <a:rPr lang="it-IT" sz="1350" b="1" spc="-85" dirty="0">
                <a:solidFill>
                  <a:srgbClr val="FFFFFF"/>
                </a:solidFill>
                <a:latin typeface="Helvetica Neue"/>
                <a:cs typeface="Helvetica Neue"/>
              </a:rPr>
              <a:t> </a:t>
            </a:r>
            <a:r>
              <a:rPr lang="it-IT" sz="1350" b="1" spc="475" dirty="0" err="1">
                <a:solidFill>
                  <a:srgbClr val="FFFFFF"/>
                </a:solidFill>
                <a:latin typeface="Helvetica Neue"/>
                <a:cs typeface="Helvetica Neue"/>
              </a:rPr>
              <a:t>R</a:t>
            </a:r>
            <a:r>
              <a:rPr lang="it-IT" sz="1350" b="1" spc="-90" dirty="0">
                <a:solidFill>
                  <a:srgbClr val="FFFFFF"/>
                </a:solidFill>
                <a:latin typeface="Helvetica Neue"/>
                <a:cs typeface="Helvetica Neue"/>
              </a:rPr>
              <a:t> </a:t>
            </a:r>
            <a:r>
              <a:rPr lang="it-IT" sz="1350" b="1" spc="60" dirty="0">
                <a:solidFill>
                  <a:srgbClr val="FFFFFF"/>
                </a:solidFill>
                <a:latin typeface="Helvetica Neue"/>
                <a:cs typeface="Helvetica Neue"/>
              </a:rPr>
              <a:t>I</a:t>
            </a:r>
            <a:r>
              <a:rPr lang="it-IT" sz="1350" b="1" spc="-85" dirty="0">
                <a:solidFill>
                  <a:srgbClr val="FFFFFF"/>
                </a:solidFill>
                <a:latin typeface="Helvetica Neue"/>
                <a:cs typeface="Helvetica Neue"/>
              </a:rPr>
              <a:t> </a:t>
            </a:r>
            <a:r>
              <a:rPr lang="it-IT" sz="1350" b="1" spc="120" dirty="0">
                <a:solidFill>
                  <a:srgbClr val="FFFFFF"/>
                </a:solidFill>
                <a:latin typeface="Helvetica Neue"/>
                <a:cs typeface="Helvetica Neue"/>
              </a:rPr>
              <a:t>E</a:t>
            </a:r>
            <a:r>
              <a:rPr lang="it-IT" sz="1350" b="1" spc="-90" dirty="0">
                <a:solidFill>
                  <a:srgbClr val="FFFFFF"/>
                </a:solidFill>
                <a:latin typeface="Helvetica Neue"/>
                <a:cs typeface="Helvetica Neue"/>
              </a:rPr>
              <a:t> </a:t>
            </a:r>
            <a:r>
              <a:rPr lang="it-IT" sz="1350" b="1" spc="225" dirty="0" err="1">
                <a:solidFill>
                  <a:srgbClr val="FFFFFF"/>
                </a:solidFill>
                <a:latin typeface="Helvetica Neue"/>
                <a:cs typeface="Helvetica Neue"/>
              </a:rPr>
              <a:t>N</a:t>
            </a:r>
            <a:r>
              <a:rPr lang="it-IT" sz="1350" b="1" spc="-85" dirty="0">
                <a:solidFill>
                  <a:srgbClr val="FFFFFF"/>
                </a:solidFill>
                <a:latin typeface="Helvetica Neue"/>
                <a:cs typeface="Helvetica Neue"/>
              </a:rPr>
              <a:t> </a:t>
            </a:r>
            <a:r>
              <a:rPr lang="it-IT" sz="1350" b="1" spc="250" dirty="0">
                <a:solidFill>
                  <a:srgbClr val="FFFFFF"/>
                </a:solidFill>
                <a:latin typeface="Helvetica Neue"/>
                <a:cs typeface="Helvetica Neue"/>
              </a:rPr>
              <a:t>C</a:t>
            </a:r>
            <a:r>
              <a:rPr lang="it-IT" sz="1350" b="1" spc="-90" dirty="0">
                <a:solidFill>
                  <a:srgbClr val="FFFFFF"/>
                </a:solidFill>
                <a:latin typeface="Helvetica Neue"/>
                <a:cs typeface="Helvetica Neue"/>
              </a:rPr>
              <a:t> </a:t>
            </a:r>
            <a:r>
              <a:rPr lang="it-IT" sz="1350" b="1" spc="120" dirty="0">
                <a:solidFill>
                  <a:srgbClr val="FFFFFF"/>
                </a:solidFill>
                <a:latin typeface="Helvetica Neue"/>
                <a:cs typeface="Helvetica Neue"/>
              </a:rPr>
              <a:t>E</a:t>
            </a:r>
            <a:endParaRPr lang="it-IT" sz="1350" dirty="0">
              <a:latin typeface="Helvetica Neue"/>
              <a:cs typeface="Helvetica Neue"/>
            </a:endParaRPr>
          </a:p>
        </p:txBody>
      </p:sp>
      <p:sp>
        <p:nvSpPr>
          <p:cNvPr id="10" name="object 16">
            <a:extLst>
              <a:ext uri="{FF2B5EF4-FFF2-40B4-BE49-F238E27FC236}">
                <a16:creationId xmlns:a16="http://schemas.microsoft.com/office/drawing/2014/main" id="{F2A7976F-4E84-F9E6-3202-D36CD61BEED9}"/>
              </a:ext>
            </a:extLst>
          </p:cNvPr>
          <p:cNvSpPr txBox="1"/>
          <p:nvPr userDrawn="1"/>
        </p:nvSpPr>
        <p:spPr>
          <a:xfrm>
            <a:off x="10147300" y="10320338"/>
            <a:ext cx="2946400" cy="503237"/>
          </a:xfrm>
          <a:prstGeom prst="rect">
            <a:avLst/>
          </a:prstGeom>
          <a:solidFill>
            <a:srgbClr val="B3B1B5">
              <a:alpha val="94902"/>
            </a:srgbClr>
          </a:solidFill>
        </p:spPr>
        <p:txBody>
          <a:bodyPr lIns="0" tIns="129539" rIns="0" bIns="0">
            <a:spAutoFit/>
          </a:bodyPr>
          <a:lstStyle/>
          <a:p>
            <a:pPr algn="ctr" eaLnBrk="1" fontAlgn="auto" hangingPunct="1">
              <a:spcBef>
                <a:spcPts val="1019"/>
              </a:spcBef>
              <a:spcAft>
                <a:spcPts val="0"/>
              </a:spcAft>
              <a:defRPr/>
            </a:pPr>
            <a:r>
              <a:rPr lang="it-IT" sz="1350" b="1" spc="30" dirty="0">
                <a:solidFill>
                  <a:srgbClr val="FFFFFF"/>
                </a:solidFill>
                <a:latin typeface="Helvetica Neue"/>
                <a:cs typeface="Helvetica Neue"/>
              </a:rPr>
              <a:t>M</a:t>
            </a:r>
            <a:r>
              <a:rPr lang="it-IT" sz="1350" b="1" spc="-95" dirty="0">
                <a:solidFill>
                  <a:srgbClr val="FFFFFF"/>
                </a:solidFill>
                <a:latin typeface="Helvetica Neue"/>
                <a:cs typeface="Helvetica Neue"/>
              </a:rPr>
              <a:t> </a:t>
            </a:r>
            <a:r>
              <a:rPr lang="it-IT" sz="1350" b="1" spc="250" dirty="0">
                <a:solidFill>
                  <a:srgbClr val="FFFFFF"/>
                </a:solidFill>
                <a:latin typeface="Helvetica Neue"/>
                <a:cs typeface="Helvetica Neue"/>
              </a:rPr>
              <a:t>O</a:t>
            </a:r>
            <a:r>
              <a:rPr lang="it-IT" sz="1350" b="1" spc="-95" dirty="0">
                <a:solidFill>
                  <a:srgbClr val="FFFFFF"/>
                </a:solidFill>
                <a:latin typeface="Helvetica Neue"/>
                <a:cs typeface="Helvetica Neue"/>
              </a:rPr>
              <a:t> </a:t>
            </a:r>
            <a:r>
              <a:rPr lang="it-IT" sz="1350" b="1" spc="170" dirty="0">
                <a:solidFill>
                  <a:srgbClr val="FFFFFF"/>
                </a:solidFill>
                <a:latin typeface="Helvetica Neue"/>
                <a:cs typeface="Helvetica Neue"/>
              </a:rPr>
              <a:t>V</a:t>
            </a:r>
            <a:r>
              <a:rPr lang="it-IT" sz="1350" b="1" spc="-90" dirty="0">
                <a:solidFill>
                  <a:srgbClr val="FFFFFF"/>
                </a:solidFill>
                <a:latin typeface="Helvetica Neue"/>
                <a:cs typeface="Helvetica Neue"/>
              </a:rPr>
              <a:t> </a:t>
            </a:r>
            <a:r>
              <a:rPr lang="it-IT" sz="1350" b="1" spc="60" dirty="0">
                <a:solidFill>
                  <a:srgbClr val="FFFFFF"/>
                </a:solidFill>
                <a:latin typeface="Helvetica Neue"/>
                <a:cs typeface="Helvetica Neue"/>
              </a:rPr>
              <a:t>I</a:t>
            </a:r>
            <a:r>
              <a:rPr lang="it-IT" sz="1350" b="1" spc="-95" dirty="0">
                <a:solidFill>
                  <a:srgbClr val="FFFFFF"/>
                </a:solidFill>
                <a:latin typeface="Helvetica Neue"/>
                <a:cs typeface="Helvetica Neue"/>
              </a:rPr>
              <a:t> </a:t>
            </a:r>
            <a:r>
              <a:rPr lang="it-IT" sz="1350" b="1" spc="225" dirty="0" err="1">
                <a:solidFill>
                  <a:srgbClr val="FFFFFF"/>
                </a:solidFill>
                <a:latin typeface="Helvetica Neue"/>
                <a:cs typeface="Helvetica Neue"/>
              </a:rPr>
              <a:t>N</a:t>
            </a:r>
            <a:r>
              <a:rPr lang="it-IT" sz="1350" b="1" spc="-90" dirty="0">
                <a:solidFill>
                  <a:srgbClr val="FFFFFF"/>
                </a:solidFill>
                <a:latin typeface="Helvetica Neue"/>
                <a:cs typeface="Helvetica Neue"/>
              </a:rPr>
              <a:t> </a:t>
            </a:r>
            <a:r>
              <a:rPr lang="it-IT" sz="1350" b="1" spc="225" dirty="0">
                <a:solidFill>
                  <a:srgbClr val="FFFFFF"/>
                </a:solidFill>
                <a:latin typeface="Helvetica Neue"/>
                <a:cs typeface="Helvetica Neue"/>
              </a:rPr>
              <a:t>G</a:t>
            </a:r>
            <a:endParaRPr lang="it-IT" sz="1350" dirty="0">
              <a:latin typeface="Helvetica Neue"/>
              <a:cs typeface="Helvetica Neue"/>
            </a:endParaRPr>
          </a:p>
        </p:txBody>
      </p:sp>
      <p:sp>
        <p:nvSpPr>
          <p:cNvPr id="11" name="object 18">
            <a:extLst>
              <a:ext uri="{FF2B5EF4-FFF2-40B4-BE49-F238E27FC236}">
                <a16:creationId xmlns:a16="http://schemas.microsoft.com/office/drawing/2014/main" id="{95A4FF51-FA3F-6F50-C7E9-F2E1455E80B0}"/>
              </a:ext>
            </a:extLst>
          </p:cNvPr>
          <p:cNvSpPr txBox="1"/>
          <p:nvPr userDrawn="1"/>
        </p:nvSpPr>
        <p:spPr>
          <a:xfrm>
            <a:off x="16384588" y="10320338"/>
            <a:ext cx="2947987" cy="503237"/>
          </a:xfrm>
          <a:prstGeom prst="rect">
            <a:avLst/>
          </a:prstGeom>
          <a:solidFill>
            <a:srgbClr val="B3B1B5">
              <a:alpha val="94902"/>
            </a:srgbClr>
          </a:solidFill>
        </p:spPr>
        <p:txBody>
          <a:bodyPr lIns="0" tIns="129539" rIns="0" bIns="0">
            <a:spAutoFit/>
          </a:bodyPr>
          <a:lstStyle/>
          <a:p>
            <a:pPr algn="ctr" eaLnBrk="1" fontAlgn="auto" hangingPunct="1">
              <a:spcBef>
                <a:spcPts val="1019"/>
              </a:spcBef>
              <a:spcAft>
                <a:spcPts val="0"/>
              </a:spcAft>
              <a:defRPr/>
            </a:pPr>
            <a:r>
              <a:rPr lang="it-IT" sz="1350" b="1" spc="150" dirty="0">
                <a:solidFill>
                  <a:srgbClr val="FFFFFF"/>
                </a:solidFill>
                <a:latin typeface="Helvetica Neue"/>
                <a:cs typeface="Helvetica Neue"/>
              </a:rPr>
              <a:t>B</a:t>
            </a:r>
            <a:r>
              <a:rPr lang="it-IT" sz="1350" b="1" spc="-80" dirty="0">
                <a:solidFill>
                  <a:srgbClr val="FFFFFF"/>
                </a:solidFill>
                <a:latin typeface="Helvetica Neue"/>
                <a:cs typeface="Helvetica Neue"/>
              </a:rPr>
              <a:t> </a:t>
            </a:r>
            <a:r>
              <a:rPr lang="it-IT" sz="1350" b="1" spc="175" dirty="0">
                <a:solidFill>
                  <a:srgbClr val="FFFFFF"/>
                </a:solidFill>
                <a:latin typeface="Helvetica Neue"/>
                <a:cs typeface="Helvetica Neue"/>
              </a:rPr>
              <a:t>A</a:t>
            </a:r>
            <a:r>
              <a:rPr lang="it-IT" sz="1350" b="1" spc="-80" dirty="0">
                <a:solidFill>
                  <a:srgbClr val="FFFFFF"/>
                </a:solidFill>
                <a:latin typeface="Helvetica Neue"/>
                <a:cs typeface="Helvetica Neue"/>
              </a:rPr>
              <a:t> </a:t>
            </a:r>
            <a:r>
              <a:rPr lang="it-IT" sz="1350" b="1" spc="175" dirty="0" err="1">
                <a:solidFill>
                  <a:srgbClr val="FFFFFF"/>
                </a:solidFill>
                <a:latin typeface="Helvetica Neue"/>
                <a:cs typeface="Helvetica Neue"/>
              </a:rPr>
              <a:t>S</a:t>
            </a:r>
            <a:r>
              <a:rPr lang="it-IT" sz="1350" b="1" spc="-80" dirty="0">
                <a:solidFill>
                  <a:srgbClr val="FFFFFF"/>
                </a:solidFill>
                <a:latin typeface="Helvetica Neue"/>
                <a:cs typeface="Helvetica Neue"/>
              </a:rPr>
              <a:t> </a:t>
            </a:r>
            <a:r>
              <a:rPr lang="it-IT" sz="1350" b="1" spc="60" dirty="0">
                <a:solidFill>
                  <a:srgbClr val="FFFFFF"/>
                </a:solidFill>
                <a:latin typeface="Helvetica Neue"/>
                <a:cs typeface="Helvetica Neue"/>
              </a:rPr>
              <a:t>I</a:t>
            </a:r>
            <a:r>
              <a:rPr lang="it-IT" sz="1350" b="1" spc="-80" dirty="0">
                <a:solidFill>
                  <a:srgbClr val="FFFFFF"/>
                </a:solidFill>
                <a:latin typeface="Helvetica Neue"/>
                <a:cs typeface="Helvetica Neue"/>
              </a:rPr>
              <a:t> </a:t>
            </a:r>
            <a:r>
              <a:rPr lang="it-IT" sz="1350" b="1" spc="250" dirty="0">
                <a:solidFill>
                  <a:srgbClr val="FFFFFF"/>
                </a:solidFill>
                <a:latin typeface="Helvetica Neue"/>
                <a:cs typeface="Helvetica Neue"/>
              </a:rPr>
              <a:t>C</a:t>
            </a:r>
            <a:endParaRPr lang="it-IT" sz="1350" dirty="0">
              <a:latin typeface="Helvetica Neue"/>
              <a:cs typeface="Helvetica Neue"/>
            </a:endParaRPr>
          </a:p>
        </p:txBody>
      </p:sp>
      <p:sp>
        <p:nvSpPr>
          <p:cNvPr id="12" name="object 20">
            <a:extLst>
              <a:ext uri="{FF2B5EF4-FFF2-40B4-BE49-F238E27FC236}">
                <a16:creationId xmlns:a16="http://schemas.microsoft.com/office/drawing/2014/main" id="{243D90DB-72CA-9707-CEF6-8C5C76119107}"/>
              </a:ext>
            </a:extLst>
          </p:cNvPr>
          <p:cNvSpPr txBox="1"/>
          <p:nvPr userDrawn="1"/>
        </p:nvSpPr>
        <p:spPr>
          <a:xfrm>
            <a:off x="13265150" y="10320338"/>
            <a:ext cx="2947988" cy="503237"/>
          </a:xfrm>
          <a:prstGeom prst="rect">
            <a:avLst/>
          </a:prstGeom>
          <a:solidFill>
            <a:srgbClr val="B3B1B5">
              <a:alpha val="94902"/>
            </a:srgbClr>
          </a:solidFill>
        </p:spPr>
        <p:txBody>
          <a:bodyPr lIns="0" tIns="129539" rIns="0" bIns="0">
            <a:spAutoFit/>
          </a:bodyPr>
          <a:lstStyle/>
          <a:p>
            <a:pPr algn="ctr" eaLnBrk="1" fontAlgn="auto" hangingPunct="1">
              <a:spcBef>
                <a:spcPts val="1019"/>
              </a:spcBef>
              <a:spcAft>
                <a:spcPts val="0"/>
              </a:spcAft>
              <a:defRPr/>
            </a:pPr>
            <a:r>
              <a:rPr lang="it-IT" sz="1350" b="1" spc="175" dirty="0">
                <a:solidFill>
                  <a:srgbClr val="FFFFFF"/>
                </a:solidFill>
                <a:latin typeface="Helvetica Neue"/>
                <a:cs typeface="Helvetica Neue"/>
              </a:rPr>
              <a:t>A</a:t>
            </a:r>
            <a:r>
              <a:rPr lang="it-IT" sz="1350" b="1" spc="-95" dirty="0">
                <a:solidFill>
                  <a:srgbClr val="FFFFFF"/>
                </a:solidFill>
                <a:latin typeface="Helvetica Neue"/>
                <a:cs typeface="Helvetica Neue"/>
              </a:rPr>
              <a:t> </a:t>
            </a:r>
            <a:r>
              <a:rPr lang="it-IT" sz="1350" b="1" spc="250" dirty="0">
                <a:solidFill>
                  <a:srgbClr val="FFFFFF"/>
                </a:solidFill>
                <a:latin typeface="Helvetica Neue"/>
                <a:cs typeface="Helvetica Neue"/>
              </a:rPr>
              <a:t>C</a:t>
            </a:r>
            <a:r>
              <a:rPr lang="it-IT" sz="1350" b="1" spc="-95" dirty="0">
                <a:solidFill>
                  <a:srgbClr val="FFFFFF"/>
                </a:solidFill>
                <a:latin typeface="Helvetica Neue"/>
                <a:cs typeface="Helvetica Neue"/>
              </a:rPr>
              <a:t> </a:t>
            </a:r>
            <a:r>
              <a:rPr lang="it-IT" sz="1350" b="1" spc="370" dirty="0">
                <a:solidFill>
                  <a:srgbClr val="FFFFFF"/>
                </a:solidFill>
                <a:latin typeface="Helvetica Neue"/>
                <a:cs typeface="Helvetica Neue"/>
              </a:rPr>
              <a:t>T</a:t>
            </a:r>
            <a:r>
              <a:rPr lang="it-IT" sz="1350" b="1" spc="-95" dirty="0">
                <a:solidFill>
                  <a:srgbClr val="FFFFFF"/>
                </a:solidFill>
                <a:latin typeface="Helvetica Neue"/>
                <a:cs typeface="Helvetica Neue"/>
              </a:rPr>
              <a:t> </a:t>
            </a:r>
            <a:r>
              <a:rPr lang="it-IT" sz="1350" b="1" spc="60" dirty="0">
                <a:solidFill>
                  <a:srgbClr val="FFFFFF"/>
                </a:solidFill>
                <a:latin typeface="Helvetica Neue"/>
                <a:cs typeface="Helvetica Neue"/>
              </a:rPr>
              <a:t>I</a:t>
            </a:r>
            <a:r>
              <a:rPr lang="it-IT" sz="1350" b="1" spc="-90" dirty="0">
                <a:solidFill>
                  <a:srgbClr val="FFFFFF"/>
                </a:solidFill>
                <a:latin typeface="Helvetica Neue"/>
                <a:cs typeface="Helvetica Neue"/>
              </a:rPr>
              <a:t> </a:t>
            </a:r>
            <a:r>
              <a:rPr lang="it-IT" sz="1350" b="1" spc="170" dirty="0">
                <a:solidFill>
                  <a:srgbClr val="FFFFFF"/>
                </a:solidFill>
                <a:latin typeface="Helvetica Neue"/>
                <a:cs typeface="Helvetica Neue"/>
              </a:rPr>
              <a:t>V</a:t>
            </a:r>
            <a:r>
              <a:rPr lang="it-IT" sz="1350" b="1" spc="-95" dirty="0">
                <a:solidFill>
                  <a:srgbClr val="FFFFFF"/>
                </a:solidFill>
                <a:latin typeface="Helvetica Neue"/>
                <a:cs typeface="Helvetica Neue"/>
              </a:rPr>
              <a:t> </a:t>
            </a:r>
            <a:r>
              <a:rPr lang="it-IT" sz="1350" b="1" spc="120" dirty="0">
                <a:solidFill>
                  <a:srgbClr val="FFFFFF"/>
                </a:solidFill>
                <a:latin typeface="Helvetica Neue"/>
                <a:cs typeface="Helvetica Neue"/>
              </a:rPr>
              <a:t>E</a:t>
            </a:r>
            <a:endParaRPr lang="it-IT" sz="1350" dirty="0">
              <a:latin typeface="Helvetica Neue"/>
              <a:cs typeface="Helvetica Neue"/>
            </a:endParaRPr>
          </a:p>
        </p:txBody>
      </p:sp>
      <p:sp>
        <p:nvSpPr>
          <p:cNvPr id="13" name="object 26">
            <a:extLst>
              <a:ext uri="{FF2B5EF4-FFF2-40B4-BE49-F238E27FC236}">
                <a16:creationId xmlns:a16="http://schemas.microsoft.com/office/drawing/2014/main" id="{EBBCC84E-10DD-0694-F474-1884EA27221A}"/>
              </a:ext>
            </a:extLst>
          </p:cNvPr>
          <p:cNvSpPr>
            <a:spLocks/>
          </p:cNvSpPr>
          <p:nvPr userDrawn="1"/>
        </p:nvSpPr>
        <p:spPr bwMode="auto">
          <a:xfrm>
            <a:off x="1892300" y="6251575"/>
            <a:ext cx="739775" cy="739775"/>
          </a:xfrm>
          <a:custGeom>
            <a:avLst/>
            <a:gdLst>
              <a:gd name="T0" fmla="*/ 369831 w 739775"/>
              <a:gd name="T1" fmla="*/ 0 h 739775"/>
              <a:gd name="T2" fmla="*/ 323440 w 739775"/>
              <a:gd name="T3" fmla="*/ 2881 h 739775"/>
              <a:gd name="T4" fmla="*/ 278768 w 739775"/>
              <a:gd name="T5" fmla="*/ 11295 h 739775"/>
              <a:gd name="T6" fmla="*/ 236163 w 739775"/>
              <a:gd name="T7" fmla="*/ 24894 h 739775"/>
              <a:gd name="T8" fmla="*/ 195970 w 739775"/>
              <a:gd name="T9" fmla="*/ 43333 h 739775"/>
              <a:gd name="T10" fmla="*/ 158537 w 739775"/>
              <a:gd name="T11" fmla="*/ 66263 h 739775"/>
              <a:gd name="T12" fmla="*/ 124210 w 739775"/>
              <a:gd name="T13" fmla="*/ 93339 h 739775"/>
              <a:gd name="T14" fmla="*/ 93335 w 739775"/>
              <a:gd name="T15" fmla="*/ 124214 h 739775"/>
              <a:gd name="T16" fmla="*/ 66260 w 739775"/>
              <a:gd name="T17" fmla="*/ 158542 h 739775"/>
              <a:gd name="T18" fmla="*/ 43330 w 739775"/>
              <a:gd name="T19" fmla="*/ 195975 h 739775"/>
              <a:gd name="T20" fmla="*/ 24893 w 739775"/>
              <a:gd name="T21" fmla="*/ 236167 h 739775"/>
              <a:gd name="T22" fmla="*/ 11294 w 739775"/>
              <a:gd name="T23" fmla="*/ 278771 h 739775"/>
              <a:gd name="T24" fmla="*/ 2881 w 739775"/>
              <a:gd name="T25" fmla="*/ 323442 h 739775"/>
              <a:gd name="T26" fmla="*/ 0 w 739775"/>
              <a:gd name="T27" fmla="*/ 369831 h 739775"/>
              <a:gd name="T28" fmla="*/ 2881 w 739775"/>
              <a:gd name="T29" fmla="*/ 416223 h 739775"/>
              <a:gd name="T30" fmla="*/ 11294 w 739775"/>
              <a:gd name="T31" fmla="*/ 460894 h 739775"/>
              <a:gd name="T32" fmla="*/ 24893 w 739775"/>
              <a:gd name="T33" fmla="*/ 503500 h 739775"/>
              <a:gd name="T34" fmla="*/ 43330 w 739775"/>
              <a:gd name="T35" fmla="*/ 543692 h 739775"/>
              <a:gd name="T36" fmla="*/ 66260 w 739775"/>
              <a:gd name="T37" fmla="*/ 581125 h 739775"/>
              <a:gd name="T38" fmla="*/ 93335 w 739775"/>
              <a:gd name="T39" fmla="*/ 615452 h 739775"/>
              <a:gd name="T40" fmla="*/ 124210 w 739775"/>
              <a:gd name="T41" fmla="*/ 646327 h 739775"/>
              <a:gd name="T42" fmla="*/ 158537 w 739775"/>
              <a:gd name="T43" fmla="*/ 673402 h 739775"/>
              <a:gd name="T44" fmla="*/ 195970 w 739775"/>
              <a:gd name="T45" fmla="*/ 696332 h 739775"/>
              <a:gd name="T46" fmla="*/ 236163 w 739775"/>
              <a:gd name="T47" fmla="*/ 714769 h 739775"/>
              <a:gd name="T48" fmla="*/ 278768 w 739775"/>
              <a:gd name="T49" fmla="*/ 728368 h 739775"/>
              <a:gd name="T50" fmla="*/ 323440 w 739775"/>
              <a:gd name="T51" fmla="*/ 736781 h 739775"/>
              <a:gd name="T52" fmla="*/ 369831 w 739775"/>
              <a:gd name="T53" fmla="*/ 739663 h 739775"/>
              <a:gd name="T54" fmla="*/ 416223 w 739775"/>
              <a:gd name="T55" fmla="*/ 736781 h 739775"/>
              <a:gd name="T56" fmla="*/ 460894 w 739775"/>
              <a:gd name="T57" fmla="*/ 728368 h 739775"/>
              <a:gd name="T58" fmla="*/ 503500 w 739775"/>
              <a:gd name="T59" fmla="*/ 714769 h 739775"/>
              <a:gd name="T60" fmla="*/ 543692 w 739775"/>
              <a:gd name="T61" fmla="*/ 696332 h 739775"/>
              <a:gd name="T62" fmla="*/ 581125 w 739775"/>
              <a:gd name="T63" fmla="*/ 673402 h 739775"/>
              <a:gd name="T64" fmla="*/ 615452 w 739775"/>
              <a:gd name="T65" fmla="*/ 646327 h 739775"/>
              <a:gd name="T66" fmla="*/ 646327 w 739775"/>
              <a:gd name="T67" fmla="*/ 615452 h 739775"/>
              <a:gd name="T68" fmla="*/ 673402 w 739775"/>
              <a:gd name="T69" fmla="*/ 581125 h 739775"/>
              <a:gd name="T70" fmla="*/ 696332 w 739775"/>
              <a:gd name="T71" fmla="*/ 543692 h 739775"/>
              <a:gd name="T72" fmla="*/ 714769 w 739775"/>
              <a:gd name="T73" fmla="*/ 503500 h 739775"/>
              <a:gd name="T74" fmla="*/ 728368 w 739775"/>
              <a:gd name="T75" fmla="*/ 460894 h 739775"/>
              <a:gd name="T76" fmla="*/ 736781 w 739775"/>
              <a:gd name="T77" fmla="*/ 416223 h 739775"/>
              <a:gd name="T78" fmla="*/ 739663 w 739775"/>
              <a:gd name="T79" fmla="*/ 369831 h 739775"/>
              <a:gd name="T80" fmla="*/ 736781 w 739775"/>
              <a:gd name="T81" fmla="*/ 323442 h 739775"/>
              <a:gd name="T82" fmla="*/ 728368 w 739775"/>
              <a:gd name="T83" fmla="*/ 278771 h 739775"/>
              <a:gd name="T84" fmla="*/ 714769 w 739775"/>
              <a:gd name="T85" fmla="*/ 236167 h 739775"/>
              <a:gd name="T86" fmla="*/ 696332 w 739775"/>
              <a:gd name="T87" fmla="*/ 195975 h 739775"/>
              <a:gd name="T88" fmla="*/ 673402 w 739775"/>
              <a:gd name="T89" fmla="*/ 158542 h 739775"/>
              <a:gd name="T90" fmla="*/ 646327 w 739775"/>
              <a:gd name="T91" fmla="*/ 124214 h 739775"/>
              <a:gd name="T92" fmla="*/ 615452 w 739775"/>
              <a:gd name="T93" fmla="*/ 93339 h 739775"/>
              <a:gd name="T94" fmla="*/ 581125 w 739775"/>
              <a:gd name="T95" fmla="*/ 66263 h 739775"/>
              <a:gd name="T96" fmla="*/ 543692 w 739775"/>
              <a:gd name="T97" fmla="*/ 43333 h 739775"/>
              <a:gd name="T98" fmla="*/ 503500 w 739775"/>
              <a:gd name="T99" fmla="*/ 24894 h 739775"/>
              <a:gd name="T100" fmla="*/ 460894 w 739775"/>
              <a:gd name="T101" fmla="*/ 11295 h 739775"/>
              <a:gd name="T102" fmla="*/ 416223 w 739775"/>
              <a:gd name="T103" fmla="*/ 2881 h 739775"/>
              <a:gd name="T104" fmla="*/ 369831 w 739775"/>
              <a:gd name="T105" fmla="*/ 0 h 7397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739775" h="739775">
                <a:moveTo>
                  <a:pt x="369831" y="0"/>
                </a:moveTo>
                <a:lnTo>
                  <a:pt x="323440" y="2881"/>
                </a:lnTo>
                <a:lnTo>
                  <a:pt x="278768" y="11295"/>
                </a:lnTo>
                <a:lnTo>
                  <a:pt x="236163" y="24894"/>
                </a:lnTo>
                <a:lnTo>
                  <a:pt x="195970" y="43333"/>
                </a:lnTo>
                <a:lnTo>
                  <a:pt x="158537" y="66263"/>
                </a:lnTo>
                <a:lnTo>
                  <a:pt x="124210" y="93339"/>
                </a:lnTo>
                <a:lnTo>
                  <a:pt x="93335" y="124214"/>
                </a:lnTo>
                <a:lnTo>
                  <a:pt x="66260" y="158542"/>
                </a:lnTo>
                <a:lnTo>
                  <a:pt x="43330" y="195975"/>
                </a:lnTo>
                <a:lnTo>
                  <a:pt x="24893" y="236167"/>
                </a:lnTo>
                <a:lnTo>
                  <a:pt x="11294" y="278771"/>
                </a:lnTo>
                <a:lnTo>
                  <a:pt x="2881" y="323442"/>
                </a:lnTo>
                <a:lnTo>
                  <a:pt x="0" y="369831"/>
                </a:lnTo>
                <a:lnTo>
                  <a:pt x="2881" y="416223"/>
                </a:lnTo>
                <a:lnTo>
                  <a:pt x="11294" y="460894"/>
                </a:lnTo>
                <a:lnTo>
                  <a:pt x="24893" y="503500"/>
                </a:lnTo>
                <a:lnTo>
                  <a:pt x="43330" y="543692"/>
                </a:lnTo>
                <a:lnTo>
                  <a:pt x="66260" y="581125"/>
                </a:lnTo>
                <a:lnTo>
                  <a:pt x="93335" y="615452"/>
                </a:lnTo>
                <a:lnTo>
                  <a:pt x="124210" y="646327"/>
                </a:lnTo>
                <a:lnTo>
                  <a:pt x="158537" y="673402"/>
                </a:lnTo>
                <a:lnTo>
                  <a:pt x="195970" y="696332"/>
                </a:lnTo>
                <a:lnTo>
                  <a:pt x="236163" y="714769"/>
                </a:lnTo>
                <a:lnTo>
                  <a:pt x="278768" y="728368"/>
                </a:lnTo>
                <a:lnTo>
                  <a:pt x="323440" y="736781"/>
                </a:lnTo>
                <a:lnTo>
                  <a:pt x="369831" y="739663"/>
                </a:lnTo>
                <a:lnTo>
                  <a:pt x="416223" y="736781"/>
                </a:lnTo>
                <a:lnTo>
                  <a:pt x="460894" y="728368"/>
                </a:lnTo>
                <a:lnTo>
                  <a:pt x="503500" y="714769"/>
                </a:lnTo>
                <a:lnTo>
                  <a:pt x="543692" y="696332"/>
                </a:lnTo>
                <a:lnTo>
                  <a:pt x="581125" y="673402"/>
                </a:lnTo>
                <a:lnTo>
                  <a:pt x="615452" y="646327"/>
                </a:lnTo>
                <a:lnTo>
                  <a:pt x="646327" y="615452"/>
                </a:lnTo>
                <a:lnTo>
                  <a:pt x="673402" y="581125"/>
                </a:lnTo>
                <a:lnTo>
                  <a:pt x="696332" y="543692"/>
                </a:lnTo>
                <a:lnTo>
                  <a:pt x="714769" y="503500"/>
                </a:lnTo>
                <a:lnTo>
                  <a:pt x="728368" y="460894"/>
                </a:lnTo>
                <a:lnTo>
                  <a:pt x="736781" y="416223"/>
                </a:lnTo>
                <a:lnTo>
                  <a:pt x="739663" y="369831"/>
                </a:lnTo>
                <a:lnTo>
                  <a:pt x="736781" y="323442"/>
                </a:lnTo>
                <a:lnTo>
                  <a:pt x="728368" y="278771"/>
                </a:lnTo>
                <a:lnTo>
                  <a:pt x="714769" y="236167"/>
                </a:lnTo>
                <a:lnTo>
                  <a:pt x="696332" y="195975"/>
                </a:lnTo>
                <a:lnTo>
                  <a:pt x="673402" y="158542"/>
                </a:lnTo>
                <a:lnTo>
                  <a:pt x="646327" y="124214"/>
                </a:lnTo>
                <a:lnTo>
                  <a:pt x="615452" y="93339"/>
                </a:lnTo>
                <a:lnTo>
                  <a:pt x="581125" y="66263"/>
                </a:lnTo>
                <a:lnTo>
                  <a:pt x="543692" y="43333"/>
                </a:lnTo>
                <a:lnTo>
                  <a:pt x="503500" y="24894"/>
                </a:lnTo>
                <a:lnTo>
                  <a:pt x="460894" y="11295"/>
                </a:lnTo>
                <a:lnTo>
                  <a:pt x="416223" y="2881"/>
                </a:lnTo>
                <a:lnTo>
                  <a:pt x="369831" y="0"/>
                </a:lnTo>
                <a:close/>
              </a:path>
            </a:pathLst>
          </a:custGeom>
          <a:solidFill>
            <a:srgbClr val="E5E5E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en-AU"/>
          </a:p>
        </p:txBody>
      </p:sp>
      <p:sp>
        <p:nvSpPr>
          <p:cNvPr id="14" name="object 27">
            <a:extLst>
              <a:ext uri="{FF2B5EF4-FFF2-40B4-BE49-F238E27FC236}">
                <a16:creationId xmlns:a16="http://schemas.microsoft.com/office/drawing/2014/main" id="{1488E23F-7260-FCB6-CCD0-F67C8E4E4590}"/>
              </a:ext>
            </a:extLst>
          </p:cNvPr>
          <p:cNvSpPr txBox="1"/>
          <p:nvPr userDrawn="1"/>
        </p:nvSpPr>
        <p:spPr>
          <a:xfrm>
            <a:off x="2120900" y="6540500"/>
            <a:ext cx="276225" cy="176213"/>
          </a:xfrm>
          <a:prstGeom prst="rect">
            <a:avLst/>
          </a:prstGeom>
        </p:spPr>
        <p:txBody>
          <a:bodyPr lIns="0" tIns="15875" rIns="0" bIns="0">
            <a:spAutoFit/>
          </a:bodyPr>
          <a:lstStyle/>
          <a:p>
            <a:pPr marL="12700" eaLnBrk="1" fontAlgn="auto" hangingPunct="1">
              <a:spcBef>
                <a:spcPts val="125"/>
              </a:spcBef>
              <a:spcAft>
                <a:spcPts val="0"/>
              </a:spcAft>
              <a:defRPr/>
            </a:pPr>
            <a:r>
              <a:rPr lang="it-IT" sz="1050" b="1" spc="25" dirty="0">
                <a:latin typeface="Helvetica Neue"/>
                <a:cs typeface="Helvetica Neue"/>
              </a:rPr>
              <a:t>M</a:t>
            </a:r>
            <a:r>
              <a:rPr lang="it-IT" sz="1050" b="1" spc="-65" dirty="0">
                <a:latin typeface="Helvetica Neue"/>
                <a:cs typeface="Helvetica Neue"/>
              </a:rPr>
              <a:t> </a:t>
            </a:r>
            <a:r>
              <a:rPr lang="it-IT" sz="1050" b="1" spc="114" dirty="0">
                <a:latin typeface="Helvetica Neue"/>
                <a:cs typeface="Helvetica Neue"/>
              </a:rPr>
              <a:t>B</a:t>
            </a:r>
            <a:endParaRPr lang="it-IT" sz="1050" dirty="0">
              <a:latin typeface="Helvetica Neue"/>
              <a:cs typeface="Helvetica Neue"/>
            </a:endParaRPr>
          </a:p>
        </p:txBody>
      </p:sp>
      <p:sp>
        <p:nvSpPr>
          <p:cNvPr id="15" name="object 28">
            <a:extLst>
              <a:ext uri="{FF2B5EF4-FFF2-40B4-BE49-F238E27FC236}">
                <a16:creationId xmlns:a16="http://schemas.microsoft.com/office/drawing/2014/main" id="{8852D75B-0895-1F84-BEC2-746B0F9E01BF}"/>
              </a:ext>
            </a:extLst>
          </p:cNvPr>
          <p:cNvSpPr>
            <a:spLocks/>
          </p:cNvSpPr>
          <p:nvPr userDrawn="1"/>
        </p:nvSpPr>
        <p:spPr bwMode="auto">
          <a:xfrm>
            <a:off x="7086600" y="6251575"/>
            <a:ext cx="739775" cy="739775"/>
          </a:xfrm>
          <a:custGeom>
            <a:avLst/>
            <a:gdLst>
              <a:gd name="T0" fmla="*/ 369831 w 739775"/>
              <a:gd name="T1" fmla="*/ 0 h 739775"/>
              <a:gd name="T2" fmla="*/ 323440 w 739775"/>
              <a:gd name="T3" fmla="*/ 2881 h 739775"/>
              <a:gd name="T4" fmla="*/ 278768 w 739775"/>
              <a:gd name="T5" fmla="*/ 11295 h 739775"/>
              <a:gd name="T6" fmla="*/ 236163 w 739775"/>
              <a:gd name="T7" fmla="*/ 24894 h 739775"/>
              <a:gd name="T8" fmla="*/ 195970 w 739775"/>
              <a:gd name="T9" fmla="*/ 43333 h 739775"/>
              <a:gd name="T10" fmla="*/ 158537 w 739775"/>
              <a:gd name="T11" fmla="*/ 66263 h 739775"/>
              <a:gd name="T12" fmla="*/ 124210 w 739775"/>
              <a:gd name="T13" fmla="*/ 93339 h 739775"/>
              <a:gd name="T14" fmla="*/ 93335 w 739775"/>
              <a:gd name="T15" fmla="*/ 124214 h 739775"/>
              <a:gd name="T16" fmla="*/ 66260 w 739775"/>
              <a:gd name="T17" fmla="*/ 158542 h 739775"/>
              <a:gd name="T18" fmla="*/ 43330 w 739775"/>
              <a:gd name="T19" fmla="*/ 195975 h 739775"/>
              <a:gd name="T20" fmla="*/ 24893 w 739775"/>
              <a:gd name="T21" fmla="*/ 236167 h 739775"/>
              <a:gd name="T22" fmla="*/ 11294 w 739775"/>
              <a:gd name="T23" fmla="*/ 278771 h 739775"/>
              <a:gd name="T24" fmla="*/ 2881 w 739775"/>
              <a:gd name="T25" fmla="*/ 323442 h 739775"/>
              <a:gd name="T26" fmla="*/ 0 w 739775"/>
              <a:gd name="T27" fmla="*/ 369831 h 739775"/>
              <a:gd name="T28" fmla="*/ 2881 w 739775"/>
              <a:gd name="T29" fmla="*/ 416223 h 739775"/>
              <a:gd name="T30" fmla="*/ 11294 w 739775"/>
              <a:gd name="T31" fmla="*/ 460894 h 739775"/>
              <a:gd name="T32" fmla="*/ 24893 w 739775"/>
              <a:gd name="T33" fmla="*/ 503500 h 739775"/>
              <a:gd name="T34" fmla="*/ 43330 w 739775"/>
              <a:gd name="T35" fmla="*/ 543692 h 739775"/>
              <a:gd name="T36" fmla="*/ 66260 w 739775"/>
              <a:gd name="T37" fmla="*/ 581125 h 739775"/>
              <a:gd name="T38" fmla="*/ 93335 w 739775"/>
              <a:gd name="T39" fmla="*/ 615452 h 739775"/>
              <a:gd name="T40" fmla="*/ 124210 w 739775"/>
              <a:gd name="T41" fmla="*/ 646327 h 739775"/>
              <a:gd name="T42" fmla="*/ 158537 w 739775"/>
              <a:gd name="T43" fmla="*/ 673402 h 739775"/>
              <a:gd name="T44" fmla="*/ 195970 w 739775"/>
              <a:gd name="T45" fmla="*/ 696332 h 739775"/>
              <a:gd name="T46" fmla="*/ 236163 w 739775"/>
              <a:gd name="T47" fmla="*/ 714769 h 739775"/>
              <a:gd name="T48" fmla="*/ 278768 w 739775"/>
              <a:gd name="T49" fmla="*/ 728368 h 739775"/>
              <a:gd name="T50" fmla="*/ 323440 w 739775"/>
              <a:gd name="T51" fmla="*/ 736781 h 739775"/>
              <a:gd name="T52" fmla="*/ 369831 w 739775"/>
              <a:gd name="T53" fmla="*/ 739663 h 739775"/>
              <a:gd name="T54" fmla="*/ 416223 w 739775"/>
              <a:gd name="T55" fmla="*/ 736781 h 739775"/>
              <a:gd name="T56" fmla="*/ 460894 w 739775"/>
              <a:gd name="T57" fmla="*/ 728368 h 739775"/>
              <a:gd name="T58" fmla="*/ 503500 w 739775"/>
              <a:gd name="T59" fmla="*/ 714769 h 739775"/>
              <a:gd name="T60" fmla="*/ 543692 w 739775"/>
              <a:gd name="T61" fmla="*/ 696332 h 739775"/>
              <a:gd name="T62" fmla="*/ 581125 w 739775"/>
              <a:gd name="T63" fmla="*/ 673402 h 739775"/>
              <a:gd name="T64" fmla="*/ 615452 w 739775"/>
              <a:gd name="T65" fmla="*/ 646327 h 739775"/>
              <a:gd name="T66" fmla="*/ 646327 w 739775"/>
              <a:gd name="T67" fmla="*/ 615452 h 739775"/>
              <a:gd name="T68" fmla="*/ 673402 w 739775"/>
              <a:gd name="T69" fmla="*/ 581125 h 739775"/>
              <a:gd name="T70" fmla="*/ 696332 w 739775"/>
              <a:gd name="T71" fmla="*/ 543692 h 739775"/>
              <a:gd name="T72" fmla="*/ 714769 w 739775"/>
              <a:gd name="T73" fmla="*/ 503500 h 739775"/>
              <a:gd name="T74" fmla="*/ 728368 w 739775"/>
              <a:gd name="T75" fmla="*/ 460894 h 739775"/>
              <a:gd name="T76" fmla="*/ 736781 w 739775"/>
              <a:gd name="T77" fmla="*/ 416223 h 739775"/>
              <a:gd name="T78" fmla="*/ 739663 w 739775"/>
              <a:gd name="T79" fmla="*/ 369831 h 739775"/>
              <a:gd name="T80" fmla="*/ 736781 w 739775"/>
              <a:gd name="T81" fmla="*/ 323442 h 739775"/>
              <a:gd name="T82" fmla="*/ 728368 w 739775"/>
              <a:gd name="T83" fmla="*/ 278771 h 739775"/>
              <a:gd name="T84" fmla="*/ 714769 w 739775"/>
              <a:gd name="T85" fmla="*/ 236167 h 739775"/>
              <a:gd name="T86" fmla="*/ 696332 w 739775"/>
              <a:gd name="T87" fmla="*/ 195975 h 739775"/>
              <a:gd name="T88" fmla="*/ 673402 w 739775"/>
              <a:gd name="T89" fmla="*/ 158542 h 739775"/>
              <a:gd name="T90" fmla="*/ 646327 w 739775"/>
              <a:gd name="T91" fmla="*/ 124214 h 739775"/>
              <a:gd name="T92" fmla="*/ 615452 w 739775"/>
              <a:gd name="T93" fmla="*/ 93339 h 739775"/>
              <a:gd name="T94" fmla="*/ 581125 w 739775"/>
              <a:gd name="T95" fmla="*/ 66263 h 739775"/>
              <a:gd name="T96" fmla="*/ 543692 w 739775"/>
              <a:gd name="T97" fmla="*/ 43333 h 739775"/>
              <a:gd name="T98" fmla="*/ 503500 w 739775"/>
              <a:gd name="T99" fmla="*/ 24894 h 739775"/>
              <a:gd name="T100" fmla="*/ 460894 w 739775"/>
              <a:gd name="T101" fmla="*/ 11295 h 739775"/>
              <a:gd name="T102" fmla="*/ 416223 w 739775"/>
              <a:gd name="T103" fmla="*/ 2881 h 739775"/>
              <a:gd name="T104" fmla="*/ 369831 w 739775"/>
              <a:gd name="T105" fmla="*/ 0 h 7397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739775" h="739775">
                <a:moveTo>
                  <a:pt x="369831" y="0"/>
                </a:moveTo>
                <a:lnTo>
                  <a:pt x="323440" y="2881"/>
                </a:lnTo>
                <a:lnTo>
                  <a:pt x="278768" y="11295"/>
                </a:lnTo>
                <a:lnTo>
                  <a:pt x="236163" y="24894"/>
                </a:lnTo>
                <a:lnTo>
                  <a:pt x="195970" y="43333"/>
                </a:lnTo>
                <a:lnTo>
                  <a:pt x="158537" y="66263"/>
                </a:lnTo>
                <a:lnTo>
                  <a:pt x="124210" y="93339"/>
                </a:lnTo>
                <a:lnTo>
                  <a:pt x="93335" y="124214"/>
                </a:lnTo>
                <a:lnTo>
                  <a:pt x="66260" y="158542"/>
                </a:lnTo>
                <a:lnTo>
                  <a:pt x="43330" y="195975"/>
                </a:lnTo>
                <a:lnTo>
                  <a:pt x="24893" y="236167"/>
                </a:lnTo>
                <a:lnTo>
                  <a:pt x="11294" y="278771"/>
                </a:lnTo>
                <a:lnTo>
                  <a:pt x="2881" y="323442"/>
                </a:lnTo>
                <a:lnTo>
                  <a:pt x="0" y="369831"/>
                </a:lnTo>
                <a:lnTo>
                  <a:pt x="2881" y="416223"/>
                </a:lnTo>
                <a:lnTo>
                  <a:pt x="11294" y="460894"/>
                </a:lnTo>
                <a:lnTo>
                  <a:pt x="24893" y="503500"/>
                </a:lnTo>
                <a:lnTo>
                  <a:pt x="43330" y="543692"/>
                </a:lnTo>
                <a:lnTo>
                  <a:pt x="66260" y="581125"/>
                </a:lnTo>
                <a:lnTo>
                  <a:pt x="93335" y="615452"/>
                </a:lnTo>
                <a:lnTo>
                  <a:pt x="124210" y="646327"/>
                </a:lnTo>
                <a:lnTo>
                  <a:pt x="158537" y="673402"/>
                </a:lnTo>
                <a:lnTo>
                  <a:pt x="195970" y="696332"/>
                </a:lnTo>
                <a:lnTo>
                  <a:pt x="236163" y="714769"/>
                </a:lnTo>
                <a:lnTo>
                  <a:pt x="278768" y="728368"/>
                </a:lnTo>
                <a:lnTo>
                  <a:pt x="323440" y="736781"/>
                </a:lnTo>
                <a:lnTo>
                  <a:pt x="369831" y="739663"/>
                </a:lnTo>
                <a:lnTo>
                  <a:pt x="416223" y="736781"/>
                </a:lnTo>
                <a:lnTo>
                  <a:pt x="460894" y="728368"/>
                </a:lnTo>
                <a:lnTo>
                  <a:pt x="503500" y="714769"/>
                </a:lnTo>
                <a:lnTo>
                  <a:pt x="543692" y="696332"/>
                </a:lnTo>
                <a:lnTo>
                  <a:pt x="581125" y="673402"/>
                </a:lnTo>
                <a:lnTo>
                  <a:pt x="615452" y="646327"/>
                </a:lnTo>
                <a:lnTo>
                  <a:pt x="646327" y="615452"/>
                </a:lnTo>
                <a:lnTo>
                  <a:pt x="673402" y="581125"/>
                </a:lnTo>
                <a:lnTo>
                  <a:pt x="696332" y="543692"/>
                </a:lnTo>
                <a:lnTo>
                  <a:pt x="714769" y="503500"/>
                </a:lnTo>
                <a:lnTo>
                  <a:pt x="728368" y="460894"/>
                </a:lnTo>
                <a:lnTo>
                  <a:pt x="736781" y="416223"/>
                </a:lnTo>
                <a:lnTo>
                  <a:pt x="739663" y="369831"/>
                </a:lnTo>
                <a:lnTo>
                  <a:pt x="736781" y="323442"/>
                </a:lnTo>
                <a:lnTo>
                  <a:pt x="728368" y="278771"/>
                </a:lnTo>
                <a:lnTo>
                  <a:pt x="714769" y="236167"/>
                </a:lnTo>
                <a:lnTo>
                  <a:pt x="696332" y="195975"/>
                </a:lnTo>
                <a:lnTo>
                  <a:pt x="673402" y="158542"/>
                </a:lnTo>
                <a:lnTo>
                  <a:pt x="646327" y="124214"/>
                </a:lnTo>
                <a:lnTo>
                  <a:pt x="615452" y="93339"/>
                </a:lnTo>
                <a:lnTo>
                  <a:pt x="581125" y="66263"/>
                </a:lnTo>
                <a:lnTo>
                  <a:pt x="543692" y="43333"/>
                </a:lnTo>
                <a:lnTo>
                  <a:pt x="503500" y="24894"/>
                </a:lnTo>
                <a:lnTo>
                  <a:pt x="460894" y="11295"/>
                </a:lnTo>
                <a:lnTo>
                  <a:pt x="416223" y="2881"/>
                </a:lnTo>
                <a:lnTo>
                  <a:pt x="369831" y="0"/>
                </a:lnTo>
                <a:close/>
              </a:path>
            </a:pathLst>
          </a:custGeom>
          <a:solidFill>
            <a:srgbClr val="E5E5E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en-AU"/>
          </a:p>
        </p:txBody>
      </p:sp>
      <p:sp>
        <p:nvSpPr>
          <p:cNvPr id="16" name="object 29">
            <a:extLst>
              <a:ext uri="{FF2B5EF4-FFF2-40B4-BE49-F238E27FC236}">
                <a16:creationId xmlns:a16="http://schemas.microsoft.com/office/drawing/2014/main" id="{51262A18-FDA5-F75D-51A6-BE72AF5F44BC}"/>
              </a:ext>
            </a:extLst>
          </p:cNvPr>
          <p:cNvSpPr txBox="1"/>
          <p:nvPr userDrawn="1"/>
        </p:nvSpPr>
        <p:spPr>
          <a:xfrm>
            <a:off x="7315200" y="6540500"/>
            <a:ext cx="276225" cy="176213"/>
          </a:xfrm>
          <a:prstGeom prst="rect">
            <a:avLst/>
          </a:prstGeom>
        </p:spPr>
        <p:txBody>
          <a:bodyPr lIns="0" tIns="15875" rIns="0" bIns="0">
            <a:spAutoFit/>
          </a:bodyPr>
          <a:lstStyle/>
          <a:p>
            <a:pPr marL="12700" eaLnBrk="1" fontAlgn="auto" hangingPunct="1">
              <a:spcBef>
                <a:spcPts val="125"/>
              </a:spcBef>
              <a:spcAft>
                <a:spcPts val="0"/>
              </a:spcAft>
              <a:defRPr/>
            </a:pPr>
            <a:r>
              <a:rPr lang="it-IT" sz="1050" b="1" spc="25" dirty="0">
                <a:latin typeface="Helvetica Neue"/>
                <a:cs typeface="Helvetica Neue"/>
              </a:rPr>
              <a:t>M</a:t>
            </a:r>
            <a:r>
              <a:rPr lang="it-IT" sz="1050" b="1" spc="-65" dirty="0">
                <a:latin typeface="Helvetica Neue"/>
                <a:cs typeface="Helvetica Neue"/>
              </a:rPr>
              <a:t> </a:t>
            </a:r>
            <a:r>
              <a:rPr lang="it-IT" sz="1050" b="1" spc="114" dirty="0">
                <a:latin typeface="Helvetica Neue"/>
                <a:cs typeface="Helvetica Neue"/>
              </a:rPr>
              <a:t>B</a:t>
            </a:r>
            <a:endParaRPr lang="it-IT" sz="1050" dirty="0">
              <a:latin typeface="Helvetica Neue"/>
              <a:cs typeface="Helvetica Neue"/>
            </a:endParaRPr>
          </a:p>
        </p:txBody>
      </p:sp>
      <p:sp>
        <p:nvSpPr>
          <p:cNvPr id="17" name="object 30">
            <a:extLst>
              <a:ext uri="{FF2B5EF4-FFF2-40B4-BE49-F238E27FC236}">
                <a16:creationId xmlns:a16="http://schemas.microsoft.com/office/drawing/2014/main" id="{8F958726-B0EA-55F6-3C3A-DABAA788A800}"/>
              </a:ext>
            </a:extLst>
          </p:cNvPr>
          <p:cNvSpPr>
            <a:spLocks/>
          </p:cNvSpPr>
          <p:nvPr userDrawn="1"/>
        </p:nvSpPr>
        <p:spPr bwMode="auto">
          <a:xfrm>
            <a:off x="10206038" y="6251575"/>
            <a:ext cx="739775" cy="739775"/>
          </a:xfrm>
          <a:custGeom>
            <a:avLst/>
            <a:gdLst>
              <a:gd name="T0" fmla="*/ 369831 w 739775"/>
              <a:gd name="T1" fmla="*/ 0 h 739775"/>
              <a:gd name="T2" fmla="*/ 323440 w 739775"/>
              <a:gd name="T3" fmla="*/ 2881 h 739775"/>
              <a:gd name="T4" fmla="*/ 278768 w 739775"/>
              <a:gd name="T5" fmla="*/ 11295 h 739775"/>
              <a:gd name="T6" fmla="*/ 236163 w 739775"/>
              <a:gd name="T7" fmla="*/ 24894 h 739775"/>
              <a:gd name="T8" fmla="*/ 195970 w 739775"/>
              <a:gd name="T9" fmla="*/ 43333 h 739775"/>
              <a:gd name="T10" fmla="*/ 158537 w 739775"/>
              <a:gd name="T11" fmla="*/ 66263 h 739775"/>
              <a:gd name="T12" fmla="*/ 124210 w 739775"/>
              <a:gd name="T13" fmla="*/ 93339 h 739775"/>
              <a:gd name="T14" fmla="*/ 93335 w 739775"/>
              <a:gd name="T15" fmla="*/ 124214 h 739775"/>
              <a:gd name="T16" fmla="*/ 66260 w 739775"/>
              <a:gd name="T17" fmla="*/ 158542 h 739775"/>
              <a:gd name="T18" fmla="*/ 43330 w 739775"/>
              <a:gd name="T19" fmla="*/ 195975 h 739775"/>
              <a:gd name="T20" fmla="*/ 24893 w 739775"/>
              <a:gd name="T21" fmla="*/ 236167 h 739775"/>
              <a:gd name="T22" fmla="*/ 11294 w 739775"/>
              <a:gd name="T23" fmla="*/ 278771 h 739775"/>
              <a:gd name="T24" fmla="*/ 2881 w 739775"/>
              <a:gd name="T25" fmla="*/ 323442 h 739775"/>
              <a:gd name="T26" fmla="*/ 0 w 739775"/>
              <a:gd name="T27" fmla="*/ 369831 h 739775"/>
              <a:gd name="T28" fmla="*/ 2881 w 739775"/>
              <a:gd name="T29" fmla="*/ 416223 h 739775"/>
              <a:gd name="T30" fmla="*/ 11294 w 739775"/>
              <a:gd name="T31" fmla="*/ 460894 h 739775"/>
              <a:gd name="T32" fmla="*/ 24893 w 739775"/>
              <a:gd name="T33" fmla="*/ 503500 h 739775"/>
              <a:gd name="T34" fmla="*/ 43330 w 739775"/>
              <a:gd name="T35" fmla="*/ 543692 h 739775"/>
              <a:gd name="T36" fmla="*/ 66260 w 739775"/>
              <a:gd name="T37" fmla="*/ 581125 h 739775"/>
              <a:gd name="T38" fmla="*/ 93335 w 739775"/>
              <a:gd name="T39" fmla="*/ 615452 h 739775"/>
              <a:gd name="T40" fmla="*/ 124210 w 739775"/>
              <a:gd name="T41" fmla="*/ 646327 h 739775"/>
              <a:gd name="T42" fmla="*/ 158537 w 739775"/>
              <a:gd name="T43" fmla="*/ 673402 h 739775"/>
              <a:gd name="T44" fmla="*/ 195970 w 739775"/>
              <a:gd name="T45" fmla="*/ 696332 h 739775"/>
              <a:gd name="T46" fmla="*/ 236163 w 739775"/>
              <a:gd name="T47" fmla="*/ 714769 h 739775"/>
              <a:gd name="T48" fmla="*/ 278768 w 739775"/>
              <a:gd name="T49" fmla="*/ 728368 h 739775"/>
              <a:gd name="T50" fmla="*/ 323440 w 739775"/>
              <a:gd name="T51" fmla="*/ 736781 h 739775"/>
              <a:gd name="T52" fmla="*/ 369831 w 739775"/>
              <a:gd name="T53" fmla="*/ 739663 h 739775"/>
              <a:gd name="T54" fmla="*/ 416221 w 739775"/>
              <a:gd name="T55" fmla="*/ 736781 h 739775"/>
              <a:gd name="T56" fmla="*/ 460891 w 739775"/>
              <a:gd name="T57" fmla="*/ 728368 h 739775"/>
              <a:gd name="T58" fmla="*/ 503496 w 739775"/>
              <a:gd name="T59" fmla="*/ 714769 h 739775"/>
              <a:gd name="T60" fmla="*/ 543688 w 739775"/>
              <a:gd name="T61" fmla="*/ 696332 h 739775"/>
              <a:gd name="T62" fmla="*/ 581121 w 739775"/>
              <a:gd name="T63" fmla="*/ 673402 h 739775"/>
              <a:gd name="T64" fmla="*/ 615448 w 739775"/>
              <a:gd name="T65" fmla="*/ 646327 h 739775"/>
              <a:gd name="T66" fmla="*/ 646323 w 739775"/>
              <a:gd name="T67" fmla="*/ 615452 h 739775"/>
              <a:gd name="T68" fmla="*/ 673399 w 739775"/>
              <a:gd name="T69" fmla="*/ 581125 h 739775"/>
              <a:gd name="T70" fmla="*/ 696330 w 739775"/>
              <a:gd name="T71" fmla="*/ 543692 h 739775"/>
              <a:gd name="T72" fmla="*/ 714768 w 739775"/>
              <a:gd name="T73" fmla="*/ 503500 h 739775"/>
              <a:gd name="T74" fmla="*/ 728367 w 739775"/>
              <a:gd name="T75" fmla="*/ 460894 h 739775"/>
              <a:gd name="T76" fmla="*/ 736781 w 739775"/>
              <a:gd name="T77" fmla="*/ 416223 h 739775"/>
              <a:gd name="T78" fmla="*/ 739663 w 739775"/>
              <a:gd name="T79" fmla="*/ 369831 h 739775"/>
              <a:gd name="T80" fmla="*/ 736781 w 739775"/>
              <a:gd name="T81" fmla="*/ 323442 h 739775"/>
              <a:gd name="T82" fmla="*/ 728367 w 739775"/>
              <a:gd name="T83" fmla="*/ 278771 h 739775"/>
              <a:gd name="T84" fmla="*/ 714768 w 739775"/>
              <a:gd name="T85" fmla="*/ 236167 h 739775"/>
              <a:gd name="T86" fmla="*/ 696330 w 739775"/>
              <a:gd name="T87" fmla="*/ 195975 h 739775"/>
              <a:gd name="T88" fmla="*/ 673399 w 739775"/>
              <a:gd name="T89" fmla="*/ 158542 h 739775"/>
              <a:gd name="T90" fmla="*/ 646323 w 739775"/>
              <a:gd name="T91" fmla="*/ 124214 h 739775"/>
              <a:gd name="T92" fmla="*/ 615448 w 739775"/>
              <a:gd name="T93" fmla="*/ 93339 h 739775"/>
              <a:gd name="T94" fmla="*/ 581121 w 739775"/>
              <a:gd name="T95" fmla="*/ 66263 h 739775"/>
              <a:gd name="T96" fmla="*/ 543688 w 739775"/>
              <a:gd name="T97" fmla="*/ 43333 h 739775"/>
              <a:gd name="T98" fmla="*/ 503496 w 739775"/>
              <a:gd name="T99" fmla="*/ 24894 h 739775"/>
              <a:gd name="T100" fmla="*/ 460891 w 739775"/>
              <a:gd name="T101" fmla="*/ 11295 h 739775"/>
              <a:gd name="T102" fmla="*/ 416221 w 739775"/>
              <a:gd name="T103" fmla="*/ 2881 h 739775"/>
              <a:gd name="T104" fmla="*/ 369831 w 739775"/>
              <a:gd name="T105" fmla="*/ 0 h 7397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739775" h="739775">
                <a:moveTo>
                  <a:pt x="369831" y="0"/>
                </a:moveTo>
                <a:lnTo>
                  <a:pt x="323440" y="2881"/>
                </a:lnTo>
                <a:lnTo>
                  <a:pt x="278768" y="11295"/>
                </a:lnTo>
                <a:lnTo>
                  <a:pt x="236163" y="24894"/>
                </a:lnTo>
                <a:lnTo>
                  <a:pt x="195970" y="43333"/>
                </a:lnTo>
                <a:lnTo>
                  <a:pt x="158537" y="66263"/>
                </a:lnTo>
                <a:lnTo>
                  <a:pt x="124210" y="93339"/>
                </a:lnTo>
                <a:lnTo>
                  <a:pt x="93335" y="124214"/>
                </a:lnTo>
                <a:lnTo>
                  <a:pt x="66260" y="158542"/>
                </a:lnTo>
                <a:lnTo>
                  <a:pt x="43330" y="195975"/>
                </a:lnTo>
                <a:lnTo>
                  <a:pt x="24893" y="236167"/>
                </a:lnTo>
                <a:lnTo>
                  <a:pt x="11294" y="278771"/>
                </a:lnTo>
                <a:lnTo>
                  <a:pt x="2881" y="323442"/>
                </a:lnTo>
                <a:lnTo>
                  <a:pt x="0" y="369831"/>
                </a:lnTo>
                <a:lnTo>
                  <a:pt x="2881" y="416223"/>
                </a:lnTo>
                <a:lnTo>
                  <a:pt x="11294" y="460894"/>
                </a:lnTo>
                <a:lnTo>
                  <a:pt x="24893" y="503500"/>
                </a:lnTo>
                <a:lnTo>
                  <a:pt x="43330" y="543692"/>
                </a:lnTo>
                <a:lnTo>
                  <a:pt x="66260" y="581125"/>
                </a:lnTo>
                <a:lnTo>
                  <a:pt x="93335" y="615452"/>
                </a:lnTo>
                <a:lnTo>
                  <a:pt x="124210" y="646327"/>
                </a:lnTo>
                <a:lnTo>
                  <a:pt x="158537" y="673402"/>
                </a:lnTo>
                <a:lnTo>
                  <a:pt x="195970" y="696332"/>
                </a:lnTo>
                <a:lnTo>
                  <a:pt x="236163" y="714769"/>
                </a:lnTo>
                <a:lnTo>
                  <a:pt x="278768" y="728368"/>
                </a:lnTo>
                <a:lnTo>
                  <a:pt x="323440" y="736781"/>
                </a:lnTo>
                <a:lnTo>
                  <a:pt x="369831" y="739663"/>
                </a:lnTo>
                <a:lnTo>
                  <a:pt x="416221" y="736781"/>
                </a:lnTo>
                <a:lnTo>
                  <a:pt x="460891" y="728368"/>
                </a:lnTo>
                <a:lnTo>
                  <a:pt x="503496" y="714769"/>
                </a:lnTo>
                <a:lnTo>
                  <a:pt x="543688" y="696332"/>
                </a:lnTo>
                <a:lnTo>
                  <a:pt x="581121" y="673402"/>
                </a:lnTo>
                <a:lnTo>
                  <a:pt x="615448" y="646327"/>
                </a:lnTo>
                <a:lnTo>
                  <a:pt x="646323" y="615452"/>
                </a:lnTo>
                <a:lnTo>
                  <a:pt x="673399" y="581125"/>
                </a:lnTo>
                <a:lnTo>
                  <a:pt x="696330" y="543692"/>
                </a:lnTo>
                <a:lnTo>
                  <a:pt x="714768" y="503500"/>
                </a:lnTo>
                <a:lnTo>
                  <a:pt x="728367" y="460894"/>
                </a:lnTo>
                <a:lnTo>
                  <a:pt x="736781" y="416223"/>
                </a:lnTo>
                <a:lnTo>
                  <a:pt x="739663" y="369831"/>
                </a:lnTo>
                <a:lnTo>
                  <a:pt x="736781" y="323442"/>
                </a:lnTo>
                <a:lnTo>
                  <a:pt x="728367" y="278771"/>
                </a:lnTo>
                <a:lnTo>
                  <a:pt x="714768" y="236167"/>
                </a:lnTo>
                <a:lnTo>
                  <a:pt x="696330" y="195975"/>
                </a:lnTo>
                <a:lnTo>
                  <a:pt x="673399" y="158542"/>
                </a:lnTo>
                <a:lnTo>
                  <a:pt x="646323" y="124214"/>
                </a:lnTo>
                <a:lnTo>
                  <a:pt x="615448" y="93339"/>
                </a:lnTo>
                <a:lnTo>
                  <a:pt x="581121" y="66263"/>
                </a:lnTo>
                <a:lnTo>
                  <a:pt x="543688" y="43333"/>
                </a:lnTo>
                <a:lnTo>
                  <a:pt x="503496" y="24894"/>
                </a:lnTo>
                <a:lnTo>
                  <a:pt x="460891" y="11295"/>
                </a:lnTo>
                <a:lnTo>
                  <a:pt x="416221" y="2881"/>
                </a:lnTo>
                <a:lnTo>
                  <a:pt x="369831" y="0"/>
                </a:lnTo>
                <a:close/>
              </a:path>
            </a:pathLst>
          </a:custGeom>
          <a:solidFill>
            <a:srgbClr val="E5E5E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en-AU"/>
          </a:p>
        </p:txBody>
      </p:sp>
      <p:sp>
        <p:nvSpPr>
          <p:cNvPr id="18" name="object 31">
            <a:extLst>
              <a:ext uri="{FF2B5EF4-FFF2-40B4-BE49-F238E27FC236}">
                <a16:creationId xmlns:a16="http://schemas.microsoft.com/office/drawing/2014/main" id="{F54734C9-D1DE-4B78-2266-E7B8C8257949}"/>
              </a:ext>
            </a:extLst>
          </p:cNvPr>
          <p:cNvSpPr txBox="1"/>
          <p:nvPr userDrawn="1"/>
        </p:nvSpPr>
        <p:spPr>
          <a:xfrm>
            <a:off x="10434638" y="6540500"/>
            <a:ext cx="276225" cy="176213"/>
          </a:xfrm>
          <a:prstGeom prst="rect">
            <a:avLst/>
          </a:prstGeom>
        </p:spPr>
        <p:txBody>
          <a:bodyPr lIns="0" tIns="15875" rIns="0" bIns="0">
            <a:spAutoFit/>
          </a:bodyPr>
          <a:lstStyle/>
          <a:p>
            <a:pPr marL="12700" eaLnBrk="1" fontAlgn="auto" hangingPunct="1">
              <a:spcBef>
                <a:spcPts val="125"/>
              </a:spcBef>
              <a:spcAft>
                <a:spcPts val="0"/>
              </a:spcAft>
              <a:defRPr/>
            </a:pPr>
            <a:r>
              <a:rPr lang="it-IT" sz="1050" b="1" spc="25" dirty="0">
                <a:latin typeface="Helvetica Neue"/>
                <a:cs typeface="Helvetica Neue"/>
              </a:rPr>
              <a:t>M</a:t>
            </a:r>
            <a:r>
              <a:rPr lang="it-IT" sz="1050" b="1" spc="-65" dirty="0">
                <a:latin typeface="Helvetica Neue"/>
                <a:cs typeface="Helvetica Neue"/>
              </a:rPr>
              <a:t> </a:t>
            </a:r>
            <a:r>
              <a:rPr lang="it-IT" sz="1050" b="1" spc="114" dirty="0">
                <a:latin typeface="Helvetica Neue"/>
                <a:cs typeface="Helvetica Neue"/>
              </a:rPr>
              <a:t>B</a:t>
            </a:r>
            <a:endParaRPr lang="it-IT" sz="1050" dirty="0">
              <a:latin typeface="Helvetica Neue"/>
              <a:cs typeface="Helvetica Neue"/>
            </a:endParaRPr>
          </a:p>
        </p:txBody>
      </p:sp>
      <p:sp>
        <p:nvSpPr>
          <p:cNvPr id="19" name="object 32">
            <a:extLst>
              <a:ext uri="{FF2B5EF4-FFF2-40B4-BE49-F238E27FC236}">
                <a16:creationId xmlns:a16="http://schemas.microsoft.com/office/drawing/2014/main" id="{2FA631AB-0F3A-0473-DF16-D289A85C7497}"/>
              </a:ext>
            </a:extLst>
          </p:cNvPr>
          <p:cNvSpPr>
            <a:spLocks/>
          </p:cNvSpPr>
          <p:nvPr userDrawn="1"/>
        </p:nvSpPr>
        <p:spPr bwMode="auto">
          <a:xfrm>
            <a:off x="5011738" y="6251575"/>
            <a:ext cx="739775" cy="739775"/>
          </a:xfrm>
          <a:custGeom>
            <a:avLst/>
            <a:gdLst>
              <a:gd name="T0" fmla="*/ 369831 w 739775"/>
              <a:gd name="T1" fmla="*/ 0 h 739775"/>
              <a:gd name="T2" fmla="*/ 323440 w 739775"/>
              <a:gd name="T3" fmla="*/ 2881 h 739775"/>
              <a:gd name="T4" fmla="*/ 278768 w 739775"/>
              <a:gd name="T5" fmla="*/ 11295 h 739775"/>
              <a:gd name="T6" fmla="*/ 236163 w 739775"/>
              <a:gd name="T7" fmla="*/ 24894 h 739775"/>
              <a:gd name="T8" fmla="*/ 195970 w 739775"/>
              <a:gd name="T9" fmla="*/ 43333 h 739775"/>
              <a:gd name="T10" fmla="*/ 158537 w 739775"/>
              <a:gd name="T11" fmla="*/ 66263 h 739775"/>
              <a:gd name="T12" fmla="*/ 124210 w 739775"/>
              <a:gd name="T13" fmla="*/ 93339 h 739775"/>
              <a:gd name="T14" fmla="*/ 93335 w 739775"/>
              <a:gd name="T15" fmla="*/ 124214 h 739775"/>
              <a:gd name="T16" fmla="*/ 66260 w 739775"/>
              <a:gd name="T17" fmla="*/ 158542 h 739775"/>
              <a:gd name="T18" fmla="*/ 43330 w 739775"/>
              <a:gd name="T19" fmla="*/ 195975 h 739775"/>
              <a:gd name="T20" fmla="*/ 24893 w 739775"/>
              <a:gd name="T21" fmla="*/ 236167 h 739775"/>
              <a:gd name="T22" fmla="*/ 11294 w 739775"/>
              <a:gd name="T23" fmla="*/ 278771 h 739775"/>
              <a:gd name="T24" fmla="*/ 2881 w 739775"/>
              <a:gd name="T25" fmla="*/ 323442 h 739775"/>
              <a:gd name="T26" fmla="*/ 0 w 739775"/>
              <a:gd name="T27" fmla="*/ 369831 h 739775"/>
              <a:gd name="T28" fmla="*/ 2881 w 739775"/>
              <a:gd name="T29" fmla="*/ 416223 h 739775"/>
              <a:gd name="T30" fmla="*/ 11294 w 739775"/>
              <a:gd name="T31" fmla="*/ 460894 h 739775"/>
              <a:gd name="T32" fmla="*/ 24893 w 739775"/>
              <a:gd name="T33" fmla="*/ 503500 h 739775"/>
              <a:gd name="T34" fmla="*/ 43330 w 739775"/>
              <a:gd name="T35" fmla="*/ 543692 h 739775"/>
              <a:gd name="T36" fmla="*/ 66260 w 739775"/>
              <a:gd name="T37" fmla="*/ 581125 h 739775"/>
              <a:gd name="T38" fmla="*/ 93335 w 739775"/>
              <a:gd name="T39" fmla="*/ 615452 h 739775"/>
              <a:gd name="T40" fmla="*/ 124210 w 739775"/>
              <a:gd name="T41" fmla="*/ 646327 h 739775"/>
              <a:gd name="T42" fmla="*/ 158537 w 739775"/>
              <a:gd name="T43" fmla="*/ 673402 h 739775"/>
              <a:gd name="T44" fmla="*/ 195970 w 739775"/>
              <a:gd name="T45" fmla="*/ 696332 h 739775"/>
              <a:gd name="T46" fmla="*/ 236163 w 739775"/>
              <a:gd name="T47" fmla="*/ 714769 h 739775"/>
              <a:gd name="T48" fmla="*/ 278768 w 739775"/>
              <a:gd name="T49" fmla="*/ 728368 h 739775"/>
              <a:gd name="T50" fmla="*/ 323440 w 739775"/>
              <a:gd name="T51" fmla="*/ 736781 h 739775"/>
              <a:gd name="T52" fmla="*/ 369831 w 739775"/>
              <a:gd name="T53" fmla="*/ 739663 h 739775"/>
              <a:gd name="T54" fmla="*/ 416223 w 739775"/>
              <a:gd name="T55" fmla="*/ 736781 h 739775"/>
              <a:gd name="T56" fmla="*/ 460894 w 739775"/>
              <a:gd name="T57" fmla="*/ 728368 h 739775"/>
              <a:gd name="T58" fmla="*/ 503500 w 739775"/>
              <a:gd name="T59" fmla="*/ 714769 h 739775"/>
              <a:gd name="T60" fmla="*/ 543692 w 739775"/>
              <a:gd name="T61" fmla="*/ 696332 h 739775"/>
              <a:gd name="T62" fmla="*/ 581125 w 739775"/>
              <a:gd name="T63" fmla="*/ 673402 h 739775"/>
              <a:gd name="T64" fmla="*/ 615452 w 739775"/>
              <a:gd name="T65" fmla="*/ 646327 h 739775"/>
              <a:gd name="T66" fmla="*/ 646327 w 739775"/>
              <a:gd name="T67" fmla="*/ 615452 h 739775"/>
              <a:gd name="T68" fmla="*/ 673402 w 739775"/>
              <a:gd name="T69" fmla="*/ 581125 h 739775"/>
              <a:gd name="T70" fmla="*/ 696332 w 739775"/>
              <a:gd name="T71" fmla="*/ 543692 h 739775"/>
              <a:gd name="T72" fmla="*/ 714769 w 739775"/>
              <a:gd name="T73" fmla="*/ 503500 h 739775"/>
              <a:gd name="T74" fmla="*/ 728368 w 739775"/>
              <a:gd name="T75" fmla="*/ 460894 h 739775"/>
              <a:gd name="T76" fmla="*/ 736781 w 739775"/>
              <a:gd name="T77" fmla="*/ 416223 h 739775"/>
              <a:gd name="T78" fmla="*/ 739663 w 739775"/>
              <a:gd name="T79" fmla="*/ 369831 h 739775"/>
              <a:gd name="T80" fmla="*/ 736781 w 739775"/>
              <a:gd name="T81" fmla="*/ 323442 h 739775"/>
              <a:gd name="T82" fmla="*/ 728368 w 739775"/>
              <a:gd name="T83" fmla="*/ 278771 h 739775"/>
              <a:gd name="T84" fmla="*/ 714769 w 739775"/>
              <a:gd name="T85" fmla="*/ 236167 h 739775"/>
              <a:gd name="T86" fmla="*/ 696332 w 739775"/>
              <a:gd name="T87" fmla="*/ 195975 h 739775"/>
              <a:gd name="T88" fmla="*/ 673402 w 739775"/>
              <a:gd name="T89" fmla="*/ 158542 h 739775"/>
              <a:gd name="T90" fmla="*/ 646327 w 739775"/>
              <a:gd name="T91" fmla="*/ 124214 h 739775"/>
              <a:gd name="T92" fmla="*/ 615452 w 739775"/>
              <a:gd name="T93" fmla="*/ 93339 h 739775"/>
              <a:gd name="T94" fmla="*/ 581125 w 739775"/>
              <a:gd name="T95" fmla="*/ 66263 h 739775"/>
              <a:gd name="T96" fmla="*/ 543692 w 739775"/>
              <a:gd name="T97" fmla="*/ 43333 h 739775"/>
              <a:gd name="T98" fmla="*/ 503500 w 739775"/>
              <a:gd name="T99" fmla="*/ 24894 h 739775"/>
              <a:gd name="T100" fmla="*/ 460894 w 739775"/>
              <a:gd name="T101" fmla="*/ 11295 h 739775"/>
              <a:gd name="T102" fmla="*/ 416223 w 739775"/>
              <a:gd name="T103" fmla="*/ 2881 h 739775"/>
              <a:gd name="T104" fmla="*/ 369831 w 739775"/>
              <a:gd name="T105" fmla="*/ 0 h 7397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739775" h="739775">
                <a:moveTo>
                  <a:pt x="369831" y="0"/>
                </a:moveTo>
                <a:lnTo>
                  <a:pt x="323440" y="2881"/>
                </a:lnTo>
                <a:lnTo>
                  <a:pt x="278768" y="11295"/>
                </a:lnTo>
                <a:lnTo>
                  <a:pt x="236163" y="24894"/>
                </a:lnTo>
                <a:lnTo>
                  <a:pt x="195970" y="43333"/>
                </a:lnTo>
                <a:lnTo>
                  <a:pt x="158537" y="66263"/>
                </a:lnTo>
                <a:lnTo>
                  <a:pt x="124210" y="93339"/>
                </a:lnTo>
                <a:lnTo>
                  <a:pt x="93335" y="124214"/>
                </a:lnTo>
                <a:lnTo>
                  <a:pt x="66260" y="158542"/>
                </a:lnTo>
                <a:lnTo>
                  <a:pt x="43330" y="195975"/>
                </a:lnTo>
                <a:lnTo>
                  <a:pt x="24893" y="236167"/>
                </a:lnTo>
                <a:lnTo>
                  <a:pt x="11294" y="278771"/>
                </a:lnTo>
                <a:lnTo>
                  <a:pt x="2881" y="323442"/>
                </a:lnTo>
                <a:lnTo>
                  <a:pt x="0" y="369831"/>
                </a:lnTo>
                <a:lnTo>
                  <a:pt x="2881" y="416223"/>
                </a:lnTo>
                <a:lnTo>
                  <a:pt x="11294" y="460894"/>
                </a:lnTo>
                <a:lnTo>
                  <a:pt x="24893" y="503500"/>
                </a:lnTo>
                <a:lnTo>
                  <a:pt x="43330" y="543692"/>
                </a:lnTo>
                <a:lnTo>
                  <a:pt x="66260" y="581125"/>
                </a:lnTo>
                <a:lnTo>
                  <a:pt x="93335" y="615452"/>
                </a:lnTo>
                <a:lnTo>
                  <a:pt x="124210" y="646327"/>
                </a:lnTo>
                <a:lnTo>
                  <a:pt x="158537" y="673402"/>
                </a:lnTo>
                <a:lnTo>
                  <a:pt x="195970" y="696332"/>
                </a:lnTo>
                <a:lnTo>
                  <a:pt x="236163" y="714769"/>
                </a:lnTo>
                <a:lnTo>
                  <a:pt x="278768" y="728368"/>
                </a:lnTo>
                <a:lnTo>
                  <a:pt x="323440" y="736781"/>
                </a:lnTo>
                <a:lnTo>
                  <a:pt x="369831" y="739663"/>
                </a:lnTo>
                <a:lnTo>
                  <a:pt x="416223" y="736781"/>
                </a:lnTo>
                <a:lnTo>
                  <a:pt x="460894" y="728368"/>
                </a:lnTo>
                <a:lnTo>
                  <a:pt x="503500" y="714769"/>
                </a:lnTo>
                <a:lnTo>
                  <a:pt x="543692" y="696332"/>
                </a:lnTo>
                <a:lnTo>
                  <a:pt x="581125" y="673402"/>
                </a:lnTo>
                <a:lnTo>
                  <a:pt x="615452" y="646327"/>
                </a:lnTo>
                <a:lnTo>
                  <a:pt x="646327" y="615452"/>
                </a:lnTo>
                <a:lnTo>
                  <a:pt x="673402" y="581125"/>
                </a:lnTo>
                <a:lnTo>
                  <a:pt x="696332" y="543692"/>
                </a:lnTo>
                <a:lnTo>
                  <a:pt x="714769" y="503500"/>
                </a:lnTo>
                <a:lnTo>
                  <a:pt x="728368" y="460894"/>
                </a:lnTo>
                <a:lnTo>
                  <a:pt x="736781" y="416223"/>
                </a:lnTo>
                <a:lnTo>
                  <a:pt x="739663" y="369831"/>
                </a:lnTo>
                <a:lnTo>
                  <a:pt x="736781" y="323442"/>
                </a:lnTo>
                <a:lnTo>
                  <a:pt x="728368" y="278771"/>
                </a:lnTo>
                <a:lnTo>
                  <a:pt x="714769" y="236167"/>
                </a:lnTo>
                <a:lnTo>
                  <a:pt x="696332" y="195975"/>
                </a:lnTo>
                <a:lnTo>
                  <a:pt x="673402" y="158542"/>
                </a:lnTo>
                <a:lnTo>
                  <a:pt x="646327" y="124214"/>
                </a:lnTo>
                <a:lnTo>
                  <a:pt x="615452" y="93339"/>
                </a:lnTo>
                <a:lnTo>
                  <a:pt x="581125" y="66263"/>
                </a:lnTo>
                <a:lnTo>
                  <a:pt x="543692" y="43333"/>
                </a:lnTo>
                <a:lnTo>
                  <a:pt x="503500" y="24894"/>
                </a:lnTo>
                <a:lnTo>
                  <a:pt x="460894" y="11295"/>
                </a:lnTo>
                <a:lnTo>
                  <a:pt x="416223" y="2881"/>
                </a:lnTo>
                <a:lnTo>
                  <a:pt x="369831" y="0"/>
                </a:lnTo>
                <a:close/>
              </a:path>
            </a:pathLst>
          </a:custGeom>
          <a:solidFill>
            <a:srgbClr val="E5E5E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en-AU"/>
          </a:p>
        </p:txBody>
      </p:sp>
      <p:sp>
        <p:nvSpPr>
          <p:cNvPr id="20" name="object 33">
            <a:extLst>
              <a:ext uri="{FF2B5EF4-FFF2-40B4-BE49-F238E27FC236}">
                <a16:creationId xmlns:a16="http://schemas.microsoft.com/office/drawing/2014/main" id="{D8226ABC-68EA-D80E-8641-69D93D79021B}"/>
              </a:ext>
            </a:extLst>
          </p:cNvPr>
          <p:cNvSpPr txBox="1"/>
          <p:nvPr userDrawn="1"/>
        </p:nvSpPr>
        <p:spPr>
          <a:xfrm>
            <a:off x="5103813" y="6540500"/>
            <a:ext cx="554037" cy="176213"/>
          </a:xfrm>
          <a:prstGeom prst="rect">
            <a:avLst/>
          </a:prstGeom>
        </p:spPr>
        <p:txBody>
          <a:bodyPr lIns="0" tIns="15875" rIns="0" bIns="0">
            <a:spAutoFit/>
          </a:bodyPr>
          <a:lstStyle/>
          <a:p>
            <a:pPr marL="12700" algn="ctr" eaLnBrk="1" fontAlgn="auto" hangingPunct="1">
              <a:spcBef>
                <a:spcPts val="125"/>
              </a:spcBef>
              <a:spcAft>
                <a:spcPts val="0"/>
              </a:spcAft>
              <a:defRPr/>
            </a:pPr>
            <a:r>
              <a:rPr lang="it-IT" sz="1050" b="1" spc="290" dirty="0">
                <a:latin typeface="Helvetica Neue"/>
                <a:cs typeface="Helvetica Neue"/>
              </a:rPr>
              <a:t>FIAT</a:t>
            </a:r>
            <a:endParaRPr lang="it-IT" sz="1050" dirty="0">
              <a:latin typeface="Helvetica Neue"/>
              <a:cs typeface="Helvetica Neue"/>
            </a:endParaRPr>
          </a:p>
        </p:txBody>
      </p:sp>
      <p:sp>
        <p:nvSpPr>
          <p:cNvPr id="21" name="object 42">
            <a:extLst>
              <a:ext uri="{FF2B5EF4-FFF2-40B4-BE49-F238E27FC236}">
                <a16:creationId xmlns:a16="http://schemas.microsoft.com/office/drawing/2014/main" id="{A25F76D4-20C1-2A6C-6F69-D6FE8DA603CE}"/>
              </a:ext>
            </a:extLst>
          </p:cNvPr>
          <p:cNvSpPr>
            <a:spLocks/>
          </p:cNvSpPr>
          <p:nvPr userDrawn="1"/>
        </p:nvSpPr>
        <p:spPr bwMode="auto">
          <a:xfrm>
            <a:off x="9153525" y="6251575"/>
            <a:ext cx="739775" cy="739775"/>
          </a:xfrm>
          <a:custGeom>
            <a:avLst/>
            <a:gdLst>
              <a:gd name="T0" fmla="*/ 369831 w 739775"/>
              <a:gd name="T1" fmla="*/ 0 h 739775"/>
              <a:gd name="T2" fmla="*/ 323440 w 739775"/>
              <a:gd name="T3" fmla="*/ 2881 h 739775"/>
              <a:gd name="T4" fmla="*/ 278768 w 739775"/>
              <a:gd name="T5" fmla="*/ 11295 h 739775"/>
              <a:gd name="T6" fmla="*/ 236163 w 739775"/>
              <a:gd name="T7" fmla="*/ 24894 h 739775"/>
              <a:gd name="T8" fmla="*/ 195970 w 739775"/>
              <a:gd name="T9" fmla="*/ 43333 h 739775"/>
              <a:gd name="T10" fmla="*/ 158537 w 739775"/>
              <a:gd name="T11" fmla="*/ 66263 h 739775"/>
              <a:gd name="T12" fmla="*/ 124210 w 739775"/>
              <a:gd name="T13" fmla="*/ 93339 h 739775"/>
              <a:gd name="T14" fmla="*/ 93335 w 739775"/>
              <a:gd name="T15" fmla="*/ 124214 h 739775"/>
              <a:gd name="T16" fmla="*/ 66260 w 739775"/>
              <a:gd name="T17" fmla="*/ 158542 h 739775"/>
              <a:gd name="T18" fmla="*/ 43330 w 739775"/>
              <a:gd name="T19" fmla="*/ 195975 h 739775"/>
              <a:gd name="T20" fmla="*/ 24893 w 739775"/>
              <a:gd name="T21" fmla="*/ 236167 h 739775"/>
              <a:gd name="T22" fmla="*/ 11294 w 739775"/>
              <a:gd name="T23" fmla="*/ 278771 h 739775"/>
              <a:gd name="T24" fmla="*/ 2881 w 739775"/>
              <a:gd name="T25" fmla="*/ 323442 h 739775"/>
              <a:gd name="T26" fmla="*/ 0 w 739775"/>
              <a:gd name="T27" fmla="*/ 369831 h 739775"/>
              <a:gd name="T28" fmla="*/ 2881 w 739775"/>
              <a:gd name="T29" fmla="*/ 416223 h 739775"/>
              <a:gd name="T30" fmla="*/ 11294 w 739775"/>
              <a:gd name="T31" fmla="*/ 460894 h 739775"/>
              <a:gd name="T32" fmla="*/ 24893 w 739775"/>
              <a:gd name="T33" fmla="*/ 503500 h 739775"/>
              <a:gd name="T34" fmla="*/ 43330 w 739775"/>
              <a:gd name="T35" fmla="*/ 543692 h 739775"/>
              <a:gd name="T36" fmla="*/ 66260 w 739775"/>
              <a:gd name="T37" fmla="*/ 581125 h 739775"/>
              <a:gd name="T38" fmla="*/ 93335 w 739775"/>
              <a:gd name="T39" fmla="*/ 615452 h 739775"/>
              <a:gd name="T40" fmla="*/ 124210 w 739775"/>
              <a:gd name="T41" fmla="*/ 646327 h 739775"/>
              <a:gd name="T42" fmla="*/ 158537 w 739775"/>
              <a:gd name="T43" fmla="*/ 673402 h 739775"/>
              <a:gd name="T44" fmla="*/ 195970 w 739775"/>
              <a:gd name="T45" fmla="*/ 696332 h 739775"/>
              <a:gd name="T46" fmla="*/ 236163 w 739775"/>
              <a:gd name="T47" fmla="*/ 714769 h 739775"/>
              <a:gd name="T48" fmla="*/ 278768 w 739775"/>
              <a:gd name="T49" fmla="*/ 728368 h 739775"/>
              <a:gd name="T50" fmla="*/ 323440 w 739775"/>
              <a:gd name="T51" fmla="*/ 736781 h 739775"/>
              <a:gd name="T52" fmla="*/ 369831 w 739775"/>
              <a:gd name="T53" fmla="*/ 739663 h 739775"/>
              <a:gd name="T54" fmla="*/ 416223 w 739775"/>
              <a:gd name="T55" fmla="*/ 736781 h 739775"/>
              <a:gd name="T56" fmla="*/ 460894 w 739775"/>
              <a:gd name="T57" fmla="*/ 728368 h 739775"/>
              <a:gd name="T58" fmla="*/ 503500 w 739775"/>
              <a:gd name="T59" fmla="*/ 714769 h 739775"/>
              <a:gd name="T60" fmla="*/ 543692 w 739775"/>
              <a:gd name="T61" fmla="*/ 696332 h 739775"/>
              <a:gd name="T62" fmla="*/ 581125 w 739775"/>
              <a:gd name="T63" fmla="*/ 673402 h 739775"/>
              <a:gd name="T64" fmla="*/ 615452 w 739775"/>
              <a:gd name="T65" fmla="*/ 646327 h 739775"/>
              <a:gd name="T66" fmla="*/ 646327 w 739775"/>
              <a:gd name="T67" fmla="*/ 615452 h 739775"/>
              <a:gd name="T68" fmla="*/ 673402 w 739775"/>
              <a:gd name="T69" fmla="*/ 581125 h 739775"/>
              <a:gd name="T70" fmla="*/ 696332 w 739775"/>
              <a:gd name="T71" fmla="*/ 543692 h 739775"/>
              <a:gd name="T72" fmla="*/ 714769 w 739775"/>
              <a:gd name="T73" fmla="*/ 503500 h 739775"/>
              <a:gd name="T74" fmla="*/ 728368 w 739775"/>
              <a:gd name="T75" fmla="*/ 460894 h 739775"/>
              <a:gd name="T76" fmla="*/ 736781 w 739775"/>
              <a:gd name="T77" fmla="*/ 416223 h 739775"/>
              <a:gd name="T78" fmla="*/ 739663 w 739775"/>
              <a:gd name="T79" fmla="*/ 369831 h 739775"/>
              <a:gd name="T80" fmla="*/ 736781 w 739775"/>
              <a:gd name="T81" fmla="*/ 323442 h 739775"/>
              <a:gd name="T82" fmla="*/ 728368 w 739775"/>
              <a:gd name="T83" fmla="*/ 278771 h 739775"/>
              <a:gd name="T84" fmla="*/ 714769 w 739775"/>
              <a:gd name="T85" fmla="*/ 236167 h 739775"/>
              <a:gd name="T86" fmla="*/ 696332 w 739775"/>
              <a:gd name="T87" fmla="*/ 195975 h 739775"/>
              <a:gd name="T88" fmla="*/ 673402 w 739775"/>
              <a:gd name="T89" fmla="*/ 158542 h 739775"/>
              <a:gd name="T90" fmla="*/ 646327 w 739775"/>
              <a:gd name="T91" fmla="*/ 124214 h 739775"/>
              <a:gd name="T92" fmla="*/ 615452 w 739775"/>
              <a:gd name="T93" fmla="*/ 93339 h 739775"/>
              <a:gd name="T94" fmla="*/ 581125 w 739775"/>
              <a:gd name="T95" fmla="*/ 66263 h 739775"/>
              <a:gd name="T96" fmla="*/ 543692 w 739775"/>
              <a:gd name="T97" fmla="*/ 43333 h 739775"/>
              <a:gd name="T98" fmla="*/ 503500 w 739775"/>
              <a:gd name="T99" fmla="*/ 24894 h 739775"/>
              <a:gd name="T100" fmla="*/ 460894 w 739775"/>
              <a:gd name="T101" fmla="*/ 11295 h 739775"/>
              <a:gd name="T102" fmla="*/ 416223 w 739775"/>
              <a:gd name="T103" fmla="*/ 2881 h 739775"/>
              <a:gd name="T104" fmla="*/ 369831 w 739775"/>
              <a:gd name="T105" fmla="*/ 0 h 7397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739775" h="739775">
                <a:moveTo>
                  <a:pt x="369831" y="0"/>
                </a:moveTo>
                <a:lnTo>
                  <a:pt x="323440" y="2881"/>
                </a:lnTo>
                <a:lnTo>
                  <a:pt x="278768" y="11295"/>
                </a:lnTo>
                <a:lnTo>
                  <a:pt x="236163" y="24894"/>
                </a:lnTo>
                <a:lnTo>
                  <a:pt x="195970" y="43333"/>
                </a:lnTo>
                <a:lnTo>
                  <a:pt x="158537" y="66263"/>
                </a:lnTo>
                <a:lnTo>
                  <a:pt x="124210" y="93339"/>
                </a:lnTo>
                <a:lnTo>
                  <a:pt x="93335" y="124214"/>
                </a:lnTo>
                <a:lnTo>
                  <a:pt x="66260" y="158542"/>
                </a:lnTo>
                <a:lnTo>
                  <a:pt x="43330" y="195975"/>
                </a:lnTo>
                <a:lnTo>
                  <a:pt x="24893" y="236167"/>
                </a:lnTo>
                <a:lnTo>
                  <a:pt x="11294" y="278771"/>
                </a:lnTo>
                <a:lnTo>
                  <a:pt x="2881" y="323442"/>
                </a:lnTo>
                <a:lnTo>
                  <a:pt x="0" y="369831"/>
                </a:lnTo>
                <a:lnTo>
                  <a:pt x="2881" y="416223"/>
                </a:lnTo>
                <a:lnTo>
                  <a:pt x="11294" y="460894"/>
                </a:lnTo>
                <a:lnTo>
                  <a:pt x="24893" y="503500"/>
                </a:lnTo>
                <a:lnTo>
                  <a:pt x="43330" y="543692"/>
                </a:lnTo>
                <a:lnTo>
                  <a:pt x="66260" y="581125"/>
                </a:lnTo>
                <a:lnTo>
                  <a:pt x="93335" y="615452"/>
                </a:lnTo>
                <a:lnTo>
                  <a:pt x="124210" y="646327"/>
                </a:lnTo>
                <a:lnTo>
                  <a:pt x="158537" y="673402"/>
                </a:lnTo>
                <a:lnTo>
                  <a:pt x="195970" y="696332"/>
                </a:lnTo>
                <a:lnTo>
                  <a:pt x="236163" y="714769"/>
                </a:lnTo>
                <a:lnTo>
                  <a:pt x="278768" y="728368"/>
                </a:lnTo>
                <a:lnTo>
                  <a:pt x="323440" y="736781"/>
                </a:lnTo>
                <a:lnTo>
                  <a:pt x="369831" y="739663"/>
                </a:lnTo>
                <a:lnTo>
                  <a:pt x="416223" y="736781"/>
                </a:lnTo>
                <a:lnTo>
                  <a:pt x="460894" y="728368"/>
                </a:lnTo>
                <a:lnTo>
                  <a:pt x="503500" y="714769"/>
                </a:lnTo>
                <a:lnTo>
                  <a:pt x="543692" y="696332"/>
                </a:lnTo>
                <a:lnTo>
                  <a:pt x="581125" y="673402"/>
                </a:lnTo>
                <a:lnTo>
                  <a:pt x="615452" y="646327"/>
                </a:lnTo>
                <a:lnTo>
                  <a:pt x="646327" y="615452"/>
                </a:lnTo>
                <a:lnTo>
                  <a:pt x="673402" y="581125"/>
                </a:lnTo>
                <a:lnTo>
                  <a:pt x="696332" y="543692"/>
                </a:lnTo>
                <a:lnTo>
                  <a:pt x="714769" y="503500"/>
                </a:lnTo>
                <a:lnTo>
                  <a:pt x="728368" y="460894"/>
                </a:lnTo>
                <a:lnTo>
                  <a:pt x="736781" y="416223"/>
                </a:lnTo>
                <a:lnTo>
                  <a:pt x="739663" y="369831"/>
                </a:lnTo>
                <a:lnTo>
                  <a:pt x="736781" y="323442"/>
                </a:lnTo>
                <a:lnTo>
                  <a:pt x="728368" y="278771"/>
                </a:lnTo>
                <a:lnTo>
                  <a:pt x="714769" y="236167"/>
                </a:lnTo>
                <a:lnTo>
                  <a:pt x="696332" y="195975"/>
                </a:lnTo>
                <a:lnTo>
                  <a:pt x="673402" y="158542"/>
                </a:lnTo>
                <a:lnTo>
                  <a:pt x="646327" y="124214"/>
                </a:lnTo>
                <a:lnTo>
                  <a:pt x="615452" y="93339"/>
                </a:lnTo>
                <a:lnTo>
                  <a:pt x="581125" y="66263"/>
                </a:lnTo>
                <a:lnTo>
                  <a:pt x="543692" y="43333"/>
                </a:lnTo>
                <a:lnTo>
                  <a:pt x="503500" y="24894"/>
                </a:lnTo>
                <a:lnTo>
                  <a:pt x="460894" y="11295"/>
                </a:lnTo>
                <a:lnTo>
                  <a:pt x="416223" y="2881"/>
                </a:lnTo>
                <a:lnTo>
                  <a:pt x="369831" y="0"/>
                </a:lnTo>
                <a:close/>
              </a:path>
            </a:pathLst>
          </a:custGeom>
          <a:solidFill>
            <a:srgbClr val="E5E5E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en-AU"/>
          </a:p>
        </p:txBody>
      </p:sp>
      <p:sp>
        <p:nvSpPr>
          <p:cNvPr id="22" name="object 43">
            <a:extLst>
              <a:ext uri="{FF2B5EF4-FFF2-40B4-BE49-F238E27FC236}">
                <a16:creationId xmlns:a16="http://schemas.microsoft.com/office/drawing/2014/main" id="{81E95561-641E-411F-3ED2-0246ECCCBC99}"/>
              </a:ext>
            </a:extLst>
          </p:cNvPr>
          <p:cNvSpPr txBox="1"/>
          <p:nvPr userDrawn="1"/>
        </p:nvSpPr>
        <p:spPr>
          <a:xfrm>
            <a:off x="9124950" y="6540500"/>
            <a:ext cx="796925" cy="176213"/>
          </a:xfrm>
          <a:prstGeom prst="rect">
            <a:avLst/>
          </a:prstGeom>
        </p:spPr>
        <p:txBody>
          <a:bodyPr lIns="0" tIns="15875" rIns="0" bIns="0">
            <a:spAutoFit/>
          </a:bodyPr>
          <a:lstStyle/>
          <a:p>
            <a:pPr marL="12700" algn="ctr" eaLnBrk="1" fontAlgn="auto" hangingPunct="1">
              <a:spcBef>
                <a:spcPts val="125"/>
              </a:spcBef>
              <a:spcAft>
                <a:spcPts val="0"/>
              </a:spcAft>
              <a:defRPr/>
            </a:pPr>
            <a:r>
              <a:rPr lang="it-IT" sz="1050" b="1" spc="195" dirty="0">
                <a:latin typeface="Helvetica Neue"/>
                <a:cs typeface="Helvetica Neue"/>
              </a:rPr>
              <a:t>CITRO</a:t>
            </a:r>
            <a:endParaRPr lang="it-IT" sz="1050" dirty="0">
              <a:latin typeface="Helvetica Neue"/>
              <a:cs typeface="Helvetica Neue"/>
            </a:endParaRPr>
          </a:p>
        </p:txBody>
      </p:sp>
      <p:sp>
        <p:nvSpPr>
          <p:cNvPr id="23" name="object 48">
            <a:extLst>
              <a:ext uri="{FF2B5EF4-FFF2-40B4-BE49-F238E27FC236}">
                <a16:creationId xmlns:a16="http://schemas.microsoft.com/office/drawing/2014/main" id="{A5796FF9-AB32-9AFB-4426-0ECF1264994C}"/>
              </a:ext>
            </a:extLst>
          </p:cNvPr>
          <p:cNvSpPr>
            <a:spLocks/>
          </p:cNvSpPr>
          <p:nvPr userDrawn="1"/>
        </p:nvSpPr>
        <p:spPr bwMode="auto">
          <a:xfrm>
            <a:off x="16444913" y="6251575"/>
            <a:ext cx="739775" cy="739775"/>
          </a:xfrm>
          <a:custGeom>
            <a:avLst/>
            <a:gdLst>
              <a:gd name="T0" fmla="*/ 369831 w 739775"/>
              <a:gd name="T1" fmla="*/ 0 h 739775"/>
              <a:gd name="T2" fmla="*/ 323440 w 739775"/>
              <a:gd name="T3" fmla="*/ 2881 h 739775"/>
              <a:gd name="T4" fmla="*/ 278768 w 739775"/>
              <a:gd name="T5" fmla="*/ 11295 h 739775"/>
              <a:gd name="T6" fmla="*/ 236163 w 739775"/>
              <a:gd name="T7" fmla="*/ 24894 h 739775"/>
              <a:gd name="T8" fmla="*/ 195970 w 739775"/>
              <a:gd name="T9" fmla="*/ 43333 h 739775"/>
              <a:gd name="T10" fmla="*/ 158537 w 739775"/>
              <a:gd name="T11" fmla="*/ 66263 h 739775"/>
              <a:gd name="T12" fmla="*/ 124210 w 739775"/>
              <a:gd name="T13" fmla="*/ 93339 h 739775"/>
              <a:gd name="T14" fmla="*/ 93335 w 739775"/>
              <a:gd name="T15" fmla="*/ 124214 h 739775"/>
              <a:gd name="T16" fmla="*/ 66260 w 739775"/>
              <a:gd name="T17" fmla="*/ 158542 h 739775"/>
              <a:gd name="T18" fmla="*/ 43330 w 739775"/>
              <a:gd name="T19" fmla="*/ 195975 h 739775"/>
              <a:gd name="T20" fmla="*/ 24893 w 739775"/>
              <a:gd name="T21" fmla="*/ 236167 h 739775"/>
              <a:gd name="T22" fmla="*/ 11294 w 739775"/>
              <a:gd name="T23" fmla="*/ 278771 h 739775"/>
              <a:gd name="T24" fmla="*/ 2881 w 739775"/>
              <a:gd name="T25" fmla="*/ 323442 h 739775"/>
              <a:gd name="T26" fmla="*/ 0 w 739775"/>
              <a:gd name="T27" fmla="*/ 369831 h 739775"/>
              <a:gd name="T28" fmla="*/ 2881 w 739775"/>
              <a:gd name="T29" fmla="*/ 416223 h 739775"/>
              <a:gd name="T30" fmla="*/ 11294 w 739775"/>
              <a:gd name="T31" fmla="*/ 460894 h 739775"/>
              <a:gd name="T32" fmla="*/ 24893 w 739775"/>
              <a:gd name="T33" fmla="*/ 503500 h 739775"/>
              <a:gd name="T34" fmla="*/ 43330 w 739775"/>
              <a:gd name="T35" fmla="*/ 543692 h 739775"/>
              <a:gd name="T36" fmla="*/ 66260 w 739775"/>
              <a:gd name="T37" fmla="*/ 581125 h 739775"/>
              <a:gd name="T38" fmla="*/ 93335 w 739775"/>
              <a:gd name="T39" fmla="*/ 615452 h 739775"/>
              <a:gd name="T40" fmla="*/ 124210 w 739775"/>
              <a:gd name="T41" fmla="*/ 646327 h 739775"/>
              <a:gd name="T42" fmla="*/ 158537 w 739775"/>
              <a:gd name="T43" fmla="*/ 673402 h 739775"/>
              <a:gd name="T44" fmla="*/ 195970 w 739775"/>
              <a:gd name="T45" fmla="*/ 696332 h 739775"/>
              <a:gd name="T46" fmla="*/ 236163 w 739775"/>
              <a:gd name="T47" fmla="*/ 714769 h 739775"/>
              <a:gd name="T48" fmla="*/ 278768 w 739775"/>
              <a:gd name="T49" fmla="*/ 728368 h 739775"/>
              <a:gd name="T50" fmla="*/ 323440 w 739775"/>
              <a:gd name="T51" fmla="*/ 736781 h 739775"/>
              <a:gd name="T52" fmla="*/ 369831 w 739775"/>
              <a:gd name="T53" fmla="*/ 739663 h 739775"/>
              <a:gd name="T54" fmla="*/ 416223 w 739775"/>
              <a:gd name="T55" fmla="*/ 736781 h 739775"/>
              <a:gd name="T56" fmla="*/ 460894 w 739775"/>
              <a:gd name="T57" fmla="*/ 728368 h 739775"/>
              <a:gd name="T58" fmla="*/ 503500 w 739775"/>
              <a:gd name="T59" fmla="*/ 714769 h 739775"/>
              <a:gd name="T60" fmla="*/ 543692 w 739775"/>
              <a:gd name="T61" fmla="*/ 696332 h 739775"/>
              <a:gd name="T62" fmla="*/ 581125 w 739775"/>
              <a:gd name="T63" fmla="*/ 673402 h 739775"/>
              <a:gd name="T64" fmla="*/ 615452 w 739775"/>
              <a:gd name="T65" fmla="*/ 646327 h 739775"/>
              <a:gd name="T66" fmla="*/ 646327 w 739775"/>
              <a:gd name="T67" fmla="*/ 615452 h 739775"/>
              <a:gd name="T68" fmla="*/ 673402 w 739775"/>
              <a:gd name="T69" fmla="*/ 581125 h 739775"/>
              <a:gd name="T70" fmla="*/ 696332 w 739775"/>
              <a:gd name="T71" fmla="*/ 543692 h 739775"/>
              <a:gd name="T72" fmla="*/ 714769 w 739775"/>
              <a:gd name="T73" fmla="*/ 503500 h 739775"/>
              <a:gd name="T74" fmla="*/ 728368 w 739775"/>
              <a:gd name="T75" fmla="*/ 460894 h 739775"/>
              <a:gd name="T76" fmla="*/ 736781 w 739775"/>
              <a:gd name="T77" fmla="*/ 416223 h 739775"/>
              <a:gd name="T78" fmla="*/ 739663 w 739775"/>
              <a:gd name="T79" fmla="*/ 369831 h 739775"/>
              <a:gd name="T80" fmla="*/ 736781 w 739775"/>
              <a:gd name="T81" fmla="*/ 323442 h 739775"/>
              <a:gd name="T82" fmla="*/ 728368 w 739775"/>
              <a:gd name="T83" fmla="*/ 278771 h 739775"/>
              <a:gd name="T84" fmla="*/ 714769 w 739775"/>
              <a:gd name="T85" fmla="*/ 236167 h 739775"/>
              <a:gd name="T86" fmla="*/ 696332 w 739775"/>
              <a:gd name="T87" fmla="*/ 195975 h 739775"/>
              <a:gd name="T88" fmla="*/ 673402 w 739775"/>
              <a:gd name="T89" fmla="*/ 158542 h 739775"/>
              <a:gd name="T90" fmla="*/ 646327 w 739775"/>
              <a:gd name="T91" fmla="*/ 124214 h 739775"/>
              <a:gd name="T92" fmla="*/ 615452 w 739775"/>
              <a:gd name="T93" fmla="*/ 93339 h 739775"/>
              <a:gd name="T94" fmla="*/ 581125 w 739775"/>
              <a:gd name="T95" fmla="*/ 66263 h 739775"/>
              <a:gd name="T96" fmla="*/ 543692 w 739775"/>
              <a:gd name="T97" fmla="*/ 43333 h 739775"/>
              <a:gd name="T98" fmla="*/ 503500 w 739775"/>
              <a:gd name="T99" fmla="*/ 24894 h 739775"/>
              <a:gd name="T100" fmla="*/ 460894 w 739775"/>
              <a:gd name="T101" fmla="*/ 11295 h 739775"/>
              <a:gd name="T102" fmla="*/ 416223 w 739775"/>
              <a:gd name="T103" fmla="*/ 2881 h 739775"/>
              <a:gd name="T104" fmla="*/ 369831 w 739775"/>
              <a:gd name="T105" fmla="*/ 0 h 7397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739775" h="739775">
                <a:moveTo>
                  <a:pt x="369831" y="0"/>
                </a:moveTo>
                <a:lnTo>
                  <a:pt x="323440" y="2881"/>
                </a:lnTo>
                <a:lnTo>
                  <a:pt x="278768" y="11295"/>
                </a:lnTo>
                <a:lnTo>
                  <a:pt x="236163" y="24894"/>
                </a:lnTo>
                <a:lnTo>
                  <a:pt x="195970" y="43333"/>
                </a:lnTo>
                <a:lnTo>
                  <a:pt x="158537" y="66263"/>
                </a:lnTo>
                <a:lnTo>
                  <a:pt x="124210" y="93339"/>
                </a:lnTo>
                <a:lnTo>
                  <a:pt x="93335" y="124214"/>
                </a:lnTo>
                <a:lnTo>
                  <a:pt x="66260" y="158542"/>
                </a:lnTo>
                <a:lnTo>
                  <a:pt x="43330" y="195975"/>
                </a:lnTo>
                <a:lnTo>
                  <a:pt x="24893" y="236167"/>
                </a:lnTo>
                <a:lnTo>
                  <a:pt x="11294" y="278771"/>
                </a:lnTo>
                <a:lnTo>
                  <a:pt x="2881" y="323442"/>
                </a:lnTo>
                <a:lnTo>
                  <a:pt x="0" y="369831"/>
                </a:lnTo>
                <a:lnTo>
                  <a:pt x="2881" y="416223"/>
                </a:lnTo>
                <a:lnTo>
                  <a:pt x="11294" y="460894"/>
                </a:lnTo>
                <a:lnTo>
                  <a:pt x="24893" y="503500"/>
                </a:lnTo>
                <a:lnTo>
                  <a:pt x="43330" y="543692"/>
                </a:lnTo>
                <a:lnTo>
                  <a:pt x="66260" y="581125"/>
                </a:lnTo>
                <a:lnTo>
                  <a:pt x="93335" y="615452"/>
                </a:lnTo>
                <a:lnTo>
                  <a:pt x="124210" y="646327"/>
                </a:lnTo>
                <a:lnTo>
                  <a:pt x="158537" y="673402"/>
                </a:lnTo>
                <a:lnTo>
                  <a:pt x="195970" y="696332"/>
                </a:lnTo>
                <a:lnTo>
                  <a:pt x="236163" y="714769"/>
                </a:lnTo>
                <a:lnTo>
                  <a:pt x="278768" y="728368"/>
                </a:lnTo>
                <a:lnTo>
                  <a:pt x="323440" y="736781"/>
                </a:lnTo>
                <a:lnTo>
                  <a:pt x="369831" y="739663"/>
                </a:lnTo>
                <a:lnTo>
                  <a:pt x="416223" y="736781"/>
                </a:lnTo>
                <a:lnTo>
                  <a:pt x="460894" y="728368"/>
                </a:lnTo>
                <a:lnTo>
                  <a:pt x="503500" y="714769"/>
                </a:lnTo>
                <a:lnTo>
                  <a:pt x="543692" y="696332"/>
                </a:lnTo>
                <a:lnTo>
                  <a:pt x="581125" y="673402"/>
                </a:lnTo>
                <a:lnTo>
                  <a:pt x="615452" y="646327"/>
                </a:lnTo>
                <a:lnTo>
                  <a:pt x="646327" y="615452"/>
                </a:lnTo>
                <a:lnTo>
                  <a:pt x="673402" y="581125"/>
                </a:lnTo>
                <a:lnTo>
                  <a:pt x="696332" y="543692"/>
                </a:lnTo>
                <a:lnTo>
                  <a:pt x="714769" y="503500"/>
                </a:lnTo>
                <a:lnTo>
                  <a:pt x="728368" y="460894"/>
                </a:lnTo>
                <a:lnTo>
                  <a:pt x="736781" y="416223"/>
                </a:lnTo>
                <a:lnTo>
                  <a:pt x="739663" y="369831"/>
                </a:lnTo>
                <a:lnTo>
                  <a:pt x="736781" y="323442"/>
                </a:lnTo>
                <a:lnTo>
                  <a:pt x="728368" y="278771"/>
                </a:lnTo>
                <a:lnTo>
                  <a:pt x="714769" y="236167"/>
                </a:lnTo>
                <a:lnTo>
                  <a:pt x="696332" y="195975"/>
                </a:lnTo>
                <a:lnTo>
                  <a:pt x="673402" y="158542"/>
                </a:lnTo>
                <a:lnTo>
                  <a:pt x="646327" y="124214"/>
                </a:lnTo>
                <a:lnTo>
                  <a:pt x="615452" y="93339"/>
                </a:lnTo>
                <a:lnTo>
                  <a:pt x="581125" y="66263"/>
                </a:lnTo>
                <a:lnTo>
                  <a:pt x="543692" y="43333"/>
                </a:lnTo>
                <a:lnTo>
                  <a:pt x="503500" y="24894"/>
                </a:lnTo>
                <a:lnTo>
                  <a:pt x="460894" y="11295"/>
                </a:lnTo>
                <a:lnTo>
                  <a:pt x="416223" y="2881"/>
                </a:lnTo>
                <a:lnTo>
                  <a:pt x="369831" y="0"/>
                </a:lnTo>
                <a:close/>
              </a:path>
            </a:pathLst>
          </a:custGeom>
          <a:solidFill>
            <a:srgbClr val="E5E5E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en-AU"/>
          </a:p>
        </p:txBody>
      </p:sp>
      <p:sp>
        <p:nvSpPr>
          <p:cNvPr id="24" name="object 49">
            <a:extLst>
              <a:ext uri="{FF2B5EF4-FFF2-40B4-BE49-F238E27FC236}">
                <a16:creationId xmlns:a16="http://schemas.microsoft.com/office/drawing/2014/main" id="{60337B37-2EE1-EBA9-19F3-6598C7B88EC5}"/>
              </a:ext>
            </a:extLst>
          </p:cNvPr>
          <p:cNvSpPr txBox="1"/>
          <p:nvPr userDrawn="1"/>
        </p:nvSpPr>
        <p:spPr>
          <a:xfrm>
            <a:off x="16679863" y="6540500"/>
            <a:ext cx="269875" cy="176213"/>
          </a:xfrm>
          <a:prstGeom prst="rect">
            <a:avLst/>
          </a:prstGeom>
        </p:spPr>
        <p:txBody>
          <a:bodyPr lIns="0" tIns="15875" rIns="0" bIns="0">
            <a:spAutoFit/>
          </a:bodyPr>
          <a:lstStyle/>
          <a:p>
            <a:pPr marL="12700" algn="ctr" eaLnBrk="1" fontAlgn="auto" hangingPunct="1">
              <a:spcBef>
                <a:spcPts val="125"/>
              </a:spcBef>
              <a:spcAft>
                <a:spcPts val="0"/>
              </a:spcAft>
              <a:defRPr/>
            </a:pPr>
            <a:r>
              <a:rPr lang="it-IT" sz="1050" b="1" spc="130" dirty="0">
                <a:latin typeface="Helvetica Neue"/>
                <a:cs typeface="Helvetica Neue"/>
              </a:rPr>
              <a:t>V</a:t>
            </a:r>
            <a:r>
              <a:rPr lang="it-IT" sz="1050" b="1" spc="-65" dirty="0">
                <a:latin typeface="Helvetica Neue"/>
                <a:cs typeface="Helvetica Neue"/>
              </a:rPr>
              <a:t>W</a:t>
            </a:r>
            <a:endParaRPr lang="it-IT" sz="1050" dirty="0">
              <a:latin typeface="Helvetica Neue"/>
              <a:cs typeface="Helvetica Neue"/>
            </a:endParaRPr>
          </a:p>
        </p:txBody>
      </p:sp>
      <p:sp>
        <p:nvSpPr>
          <p:cNvPr id="26" name="object 52">
            <a:extLst>
              <a:ext uri="{FF2B5EF4-FFF2-40B4-BE49-F238E27FC236}">
                <a16:creationId xmlns:a16="http://schemas.microsoft.com/office/drawing/2014/main" id="{76FCF0BB-69C3-8137-E832-6E4B2EEDA538}"/>
              </a:ext>
            </a:extLst>
          </p:cNvPr>
          <p:cNvSpPr>
            <a:spLocks/>
          </p:cNvSpPr>
          <p:nvPr userDrawn="1"/>
        </p:nvSpPr>
        <p:spPr bwMode="auto">
          <a:xfrm>
            <a:off x="788988" y="8207375"/>
            <a:ext cx="2946400" cy="0"/>
          </a:xfrm>
          <a:custGeom>
            <a:avLst/>
            <a:gdLst>
              <a:gd name="T0" fmla="*/ 0 w 2947035"/>
              <a:gd name="T1" fmla="*/ 2946737 w 2947035"/>
            </a:gdLst>
            <a:ahLst/>
            <a:cxnLst>
              <a:cxn ang="0">
                <a:pos x="T0" y="0"/>
              </a:cxn>
              <a:cxn ang="0">
                <a:pos x="T1" y="0"/>
              </a:cxn>
            </a:cxnLst>
            <a:rect l="0" t="0" r="r" b="b"/>
            <a:pathLst>
              <a:path w="2947035">
                <a:moveTo>
                  <a:pt x="0" y="0"/>
                </a:moveTo>
                <a:lnTo>
                  <a:pt x="2946737" y="0"/>
                </a:lnTo>
              </a:path>
            </a:pathLst>
          </a:custGeom>
          <a:noFill/>
          <a:ln w="6984">
            <a:solidFill>
              <a:srgbClr val="666666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endParaRPr lang="en-AU"/>
          </a:p>
        </p:txBody>
      </p:sp>
      <p:sp>
        <p:nvSpPr>
          <p:cNvPr id="27" name="object 53">
            <a:extLst>
              <a:ext uri="{FF2B5EF4-FFF2-40B4-BE49-F238E27FC236}">
                <a16:creationId xmlns:a16="http://schemas.microsoft.com/office/drawing/2014/main" id="{7E5F1D63-87A6-0FB2-49C3-9AB0C17962FE}"/>
              </a:ext>
            </a:extLst>
          </p:cNvPr>
          <p:cNvSpPr>
            <a:spLocks/>
          </p:cNvSpPr>
          <p:nvPr userDrawn="1"/>
        </p:nvSpPr>
        <p:spPr bwMode="auto">
          <a:xfrm>
            <a:off x="3906838" y="8207375"/>
            <a:ext cx="2947987" cy="0"/>
          </a:xfrm>
          <a:custGeom>
            <a:avLst/>
            <a:gdLst>
              <a:gd name="T0" fmla="*/ 0 w 2947034"/>
              <a:gd name="T1" fmla="*/ 2946737 w 2947034"/>
            </a:gdLst>
            <a:ahLst/>
            <a:cxnLst>
              <a:cxn ang="0">
                <a:pos x="T0" y="0"/>
              </a:cxn>
              <a:cxn ang="0">
                <a:pos x="T1" y="0"/>
              </a:cxn>
            </a:cxnLst>
            <a:rect l="0" t="0" r="r" b="b"/>
            <a:pathLst>
              <a:path w="2947034">
                <a:moveTo>
                  <a:pt x="0" y="0"/>
                </a:moveTo>
                <a:lnTo>
                  <a:pt x="2946737" y="0"/>
                </a:lnTo>
              </a:path>
            </a:pathLst>
          </a:custGeom>
          <a:noFill/>
          <a:ln w="6984">
            <a:solidFill>
              <a:srgbClr val="666666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endParaRPr lang="en-AU"/>
          </a:p>
        </p:txBody>
      </p:sp>
      <p:sp>
        <p:nvSpPr>
          <p:cNvPr id="28" name="object 54">
            <a:extLst>
              <a:ext uri="{FF2B5EF4-FFF2-40B4-BE49-F238E27FC236}">
                <a16:creationId xmlns:a16="http://schemas.microsoft.com/office/drawing/2014/main" id="{771B9CD7-28FB-28C7-5D26-72231BA22CDC}"/>
              </a:ext>
            </a:extLst>
          </p:cNvPr>
          <p:cNvSpPr>
            <a:spLocks/>
          </p:cNvSpPr>
          <p:nvPr userDrawn="1"/>
        </p:nvSpPr>
        <p:spPr bwMode="auto">
          <a:xfrm>
            <a:off x="7027863" y="8207375"/>
            <a:ext cx="2946400" cy="0"/>
          </a:xfrm>
          <a:custGeom>
            <a:avLst/>
            <a:gdLst>
              <a:gd name="T0" fmla="*/ 0 w 2947034"/>
              <a:gd name="T1" fmla="*/ 2946737 w 2947034"/>
            </a:gdLst>
            <a:ahLst/>
            <a:cxnLst>
              <a:cxn ang="0">
                <a:pos x="T0" y="0"/>
              </a:cxn>
              <a:cxn ang="0">
                <a:pos x="T1" y="0"/>
              </a:cxn>
            </a:cxnLst>
            <a:rect l="0" t="0" r="r" b="b"/>
            <a:pathLst>
              <a:path w="2947034">
                <a:moveTo>
                  <a:pt x="0" y="0"/>
                </a:moveTo>
                <a:lnTo>
                  <a:pt x="2946737" y="0"/>
                </a:lnTo>
              </a:path>
            </a:pathLst>
          </a:custGeom>
          <a:noFill/>
          <a:ln w="6984">
            <a:solidFill>
              <a:srgbClr val="666666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endParaRPr lang="en-AU"/>
          </a:p>
        </p:txBody>
      </p:sp>
      <p:sp>
        <p:nvSpPr>
          <p:cNvPr id="29" name="object 55">
            <a:extLst>
              <a:ext uri="{FF2B5EF4-FFF2-40B4-BE49-F238E27FC236}">
                <a16:creationId xmlns:a16="http://schemas.microsoft.com/office/drawing/2014/main" id="{6C9ECE12-5444-D99A-537E-D050D0C7BC29}"/>
              </a:ext>
            </a:extLst>
          </p:cNvPr>
          <p:cNvSpPr>
            <a:spLocks/>
          </p:cNvSpPr>
          <p:nvPr userDrawn="1"/>
        </p:nvSpPr>
        <p:spPr bwMode="auto">
          <a:xfrm>
            <a:off x="10147300" y="8207375"/>
            <a:ext cx="2946400" cy="0"/>
          </a:xfrm>
          <a:custGeom>
            <a:avLst/>
            <a:gdLst>
              <a:gd name="T0" fmla="*/ 0 w 2947034"/>
              <a:gd name="T1" fmla="*/ 2946737 w 2947034"/>
            </a:gdLst>
            <a:ahLst/>
            <a:cxnLst>
              <a:cxn ang="0">
                <a:pos x="T0" y="0"/>
              </a:cxn>
              <a:cxn ang="0">
                <a:pos x="T1" y="0"/>
              </a:cxn>
            </a:cxnLst>
            <a:rect l="0" t="0" r="r" b="b"/>
            <a:pathLst>
              <a:path w="2947034">
                <a:moveTo>
                  <a:pt x="0" y="0"/>
                </a:moveTo>
                <a:lnTo>
                  <a:pt x="2946737" y="0"/>
                </a:lnTo>
              </a:path>
            </a:pathLst>
          </a:custGeom>
          <a:noFill/>
          <a:ln w="6984">
            <a:solidFill>
              <a:srgbClr val="666666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endParaRPr lang="en-AU"/>
          </a:p>
        </p:txBody>
      </p:sp>
      <p:sp>
        <p:nvSpPr>
          <p:cNvPr id="30" name="object 56">
            <a:extLst>
              <a:ext uri="{FF2B5EF4-FFF2-40B4-BE49-F238E27FC236}">
                <a16:creationId xmlns:a16="http://schemas.microsoft.com/office/drawing/2014/main" id="{EED1A674-6B9D-1886-19E5-21B2D3FE62F7}"/>
              </a:ext>
            </a:extLst>
          </p:cNvPr>
          <p:cNvSpPr>
            <a:spLocks/>
          </p:cNvSpPr>
          <p:nvPr userDrawn="1"/>
        </p:nvSpPr>
        <p:spPr bwMode="auto">
          <a:xfrm>
            <a:off x="13266738" y="8207375"/>
            <a:ext cx="2946400" cy="0"/>
          </a:xfrm>
          <a:custGeom>
            <a:avLst/>
            <a:gdLst>
              <a:gd name="T0" fmla="*/ 0 w 2947034"/>
              <a:gd name="T1" fmla="*/ 2946737 w 2947034"/>
            </a:gdLst>
            <a:ahLst/>
            <a:cxnLst>
              <a:cxn ang="0">
                <a:pos x="T0" y="0"/>
              </a:cxn>
              <a:cxn ang="0">
                <a:pos x="T1" y="0"/>
              </a:cxn>
            </a:cxnLst>
            <a:rect l="0" t="0" r="r" b="b"/>
            <a:pathLst>
              <a:path w="2947034">
                <a:moveTo>
                  <a:pt x="0" y="0"/>
                </a:moveTo>
                <a:lnTo>
                  <a:pt x="2946737" y="0"/>
                </a:lnTo>
              </a:path>
            </a:pathLst>
          </a:custGeom>
          <a:noFill/>
          <a:ln w="6984">
            <a:solidFill>
              <a:srgbClr val="666666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endParaRPr lang="en-AU"/>
          </a:p>
        </p:txBody>
      </p:sp>
      <p:sp>
        <p:nvSpPr>
          <p:cNvPr id="31" name="object 57">
            <a:extLst>
              <a:ext uri="{FF2B5EF4-FFF2-40B4-BE49-F238E27FC236}">
                <a16:creationId xmlns:a16="http://schemas.microsoft.com/office/drawing/2014/main" id="{F3C5E2F8-839B-36D0-B18F-43A4778C8F0E}"/>
              </a:ext>
            </a:extLst>
          </p:cNvPr>
          <p:cNvSpPr>
            <a:spLocks/>
          </p:cNvSpPr>
          <p:nvPr userDrawn="1"/>
        </p:nvSpPr>
        <p:spPr bwMode="auto">
          <a:xfrm>
            <a:off x="16386175" y="8207375"/>
            <a:ext cx="2946400" cy="0"/>
          </a:xfrm>
          <a:custGeom>
            <a:avLst/>
            <a:gdLst>
              <a:gd name="T0" fmla="*/ 0 w 2947034"/>
              <a:gd name="T1" fmla="*/ 2946737 w 2947034"/>
            </a:gdLst>
            <a:ahLst/>
            <a:cxnLst>
              <a:cxn ang="0">
                <a:pos x="T0" y="0"/>
              </a:cxn>
              <a:cxn ang="0">
                <a:pos x="T1" y="0"/>
              </a:cxn>
            </a:cxnLst>
            <a:rect l="0" t="0" r="r" b="b"/>
            <a:pathLst>
              <a:path w="2947034">
                <a:moveTo>
                  <a:pt x="0" y="0"/>
                </a:moveTo>
                <a:lnTo>
                  <a:pt x="2946737" y="0"/>
                </a:lnTo>
              </a:path>
            </a:pathLst>
          </a:custGeom>
          <a:noFill/>
          <a:ln w="6984">
            <a:solidFill>
              <a:srgbClr val="666666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endParaRPr lang="en-AU"/>
          </a:p>
        </p:txBody>
      </p:sp>
      <p:sp>
        <p:nvSpPr>
          <p:cNvPr id="32" name="object 58">
            <a:extLst>
              <a:ext uri="{FF2B5EF4-FFF2-40B4-BE49-F238E27FC236}">
                <a16:creationId xmlns:a16="http://schemas.microsoft.com/office/drawing/2014/main" id="{3BD142C1-906A-E380-9DC8-3EBF8599A521}"/>
              </a:ext>
            </a:extLst>
          </p:cNvPr>
          <p:cNvSpPr>
            <a:spLocks/>
          </p:cNvSpPr>
          <p:nvPr userDrawn="1"/>
        </p:nvSpPr>
        <p:spPr bwMode="auto">
          <a:xfrm>
            <a:off x="3821113" y="5957888"/>
            <a:ext cx="0" cy="4362450"/>
          </a:xfrm>
          <a:custGeom>
            <a:avLst/>
            <a:gdLst>
              <a:gd name="T0" fmla="*/ 0 h 4362450"/>
              <a:gd name="T1" fmla="*/ 4361867 h 4362450"/>
            </a:gdLst>
            <a:ahLst/>
            <a:cxnLst>
              <a:cxn ang="0">
                <a:pos x="0" y="T0"/>
              </a:cxn>
              <a:cxn ang="0">
                <a:pos x="0" y="T1"/>
              </a:cxn>
            </a:cxnLst>
            <a:rect l="0" t="0" r="r" b="b"/>
            <a:pathLst>
              <a:path h="4362450">
                <a:moveTo>
                  <a:pt x="0" y="0"/>
                </a:moveTo>
                <a:lnTo>
                  <a:pt x="0" y="4361867"/>
                </a:lnTo>
              </a:path>
            </a:pathLst>
          </a:custGeom>
          <a:noFill/>
          <a:ln w="6984">
            <a:solidFill>
              <a:srgbClr val="666666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endParaRPr lang="en-AU"/>
          </a:p>
        </p:txBody>
      </p:sp>
      <p:sp>
        <p:nvSpPr>
          <p:cNvPr id="33" name="object 59">
            <a:extLst>
              <a:ext uri="{FF2B5EF4-FFF2-40B4-BE49-F238E27FC236}">
                <a16:creationId xmlns:a16="http://schemas.microsoft.com/office/drawing/2014/main" id="{53883214-C0E9-380E-6AC4-F77AB384A37B}"/>
              </a:ext>
            </a:extLst>
          </p:cNvPr>
          <p:cNvSpPr>
            <a:spLocks/>
          </p:cNvSpPr>
          <p:nvPr userDrawn="1"/>
        </p:nvSpPr>
        <p:spPr bwMode="auto">
          <a:xfrm>
            <a:off x="6940550" y="5957888"/>
            <a:ext cx="0" cy="4362450"/>
          </a:xfrm>
          <a:custGeom>
            <a:avLst/>
            <a:gdLst>
              <a:gd name="T0" fmla="*/ 0 h 4362450"/>
              <a:gd name="T1" fmla="*/ 4361867 h 4362450"/>
            </a:gdLst>
            <a:ahLst/>
            <a:cxnLst>
              <a:cxn ang="0">
                <a:pos x="0" y="T0"/>
              </a:cxn>
              <a:cxn ang="0">
                <a:pos x="0" y="T1"/>
              </a:cxn>
            </a:cxnLst>
            <a:rect l="0" t="0" r="r" b="b"/>
            <a:pathLst>
              <a:path h="4362450">
                <a:moveTo>
                  <a:pt x="0" y="0"/>
                </a:moveTo>
                <a:lnTo>
                  <a:pt x="0" y="4361867"/>
                </a:lnTo>
              </a:path>
            </a:pathLst>
          </a:custGeom>
          <a:noFill/>
          <a:ln w="6984">
            <a:solidFill>
              <a:srgbClr val="666666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endParaRPr lang="en-AU"/>
          </a:p>
        </p:txBody>
      </p:sp>
      <p:sp>
        <p:nvSpPr>
          <p:cNvPr id="34" name="object 60">
            <a:extLst>
              <a:ext uri="{FF2B5EF4-FFF2-40B4-BE49-F238E27FC236}">
                <a16:creationId xmlns:a16="http://schemas.microsoft.com/office/drawing/2014/main" id="{D9F43320-695C-EE71-A83A-04DE289445D0}"/>
              </a:ext>
            </a:extLst>
          </p:cNvPr>
          <p:cNvSpPr>
            <a:spLocks/>
          </p:cNvSpPr>
          <p:nvPr userDrawn="1"/>
        </p:nvSpPr>
        <p:spPr bwMode="auto">
          <a:xfrm>
            <a:off x="10059988" y="5957888"/>
            <a:ext cx="0" cy="4362450"/>
          </a:xfrm>
          <a:custGeom>
            <a:avLst/>
            <a:gdLst>
              <a:gd name="T0" fmla="*/ 0 h 4362450"/>
              <a:gd name="T1" fmla="*/ 4361867 h 4362450"/>
            </a:gdLst>
            <a:ahLst/>
            <a:cxnLst>
              <a:cxn ang="0">
                <a:pos x="0" y="T0"/>
              </a:cxn>
              <a:cxn ang="0">
                <a:pos x="0" y="T1"/>
              </a:cxn>
            </a:cxnLst>
            <a:rect l="0" t="0" r="r" b="b"/>
            <a:pathLst>
              <a:path h="4362450">
                <a:moveTo>
                  <a:pt x="0" y="0"/>
                </a:moveTo>
                <a:lnTo>
                  <a:pt x="0" y="4361867"/>
                </a:lnTo>
              </a:path>
            </a:pathLst>
          </a:custGeom>
          <a:noFill/>
          <a:ln w="6984">
            <a:solidFill>
              <a:srgbClr val="666666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endParaRPr lang="en-AU"/>
          </a:p>
        </p:txBody>
      </p:sp>
      <p:sp>
        <p:nvSpPr>
          <p:cNvPr id="35" name="object 61">
            <a:extLst>
              <a:ext uri="{FF2B5EF4-FFF2-40B4-BE49-F238E27FC236}">
                <a16:creationId xmlns:a16="http://schemas.microsoft.com/office/drawing/2014/main" id="{D9C10D9A-CE87-E145-3952-621E28465810}"/>
              </a:ext>
            </a:extLst>
          </p:cNvPr>
          <p:cNvSpPr>
            <a:spLocks/>
          </p:cNvSpPr>
          <p:nvPr userDrawn="1"/>
        </p:nvSpPr>
        <p:spPr bwMode="auto">
          <a:xfrm>
            <a:off x="13179425" y="5957888"/>
            <a:ext cx="0" cy="4362450"/>
          </a:xfrm>
          <a:custGeom>
            <a:avLst/>
            <a:gdLst>
              <a:gd name="T0" fmla="*/ 0 h 4362450"/>
              <a:gd name="T1" fmla="*/ 4361867 h 4362450"/>
            </a:gdLst>
            <a:ahLst/>
            <a:cxnLst>
              <a:cxn ang="0">
                <a:pos x="0" y="T0"/>
              </a:cxn>
              <a:cxn ang="0">
                <a:pos x="0" y="T1"/>
              </a:cxn>
            </a:cxnLst>
            <a:rect l="0" t="0" r="r" b="b"/>
            <a:pathLst>
              <a:path h="4362450">
                <a:moveTo>
                  <a:pt x="0" y="0"/>
                </a:moveTo>
                <a:lnTo>
                  <a:pt x="0" y="4361867"/>
                </a:lnTo>
              </a:path>
            </a:pathLst>
          </a:custGeom>
          <a:noFill/>
          <a:ln w="6984">
            <a:solidFill>
              <a:srgbClr val="666666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endParaRPr lang="en-AU"/>
          </a:p>
        </p:txBody>
      </p:sp>
      <p:sp>
        <p:nvSpPr>
          <p:cNvPr id="36" name="object 62">
            <a:extLst>
              <a:ext uri="{FF2B5EF4-FFF2-40B4-BE49-F238E27FC236}">
                <a16:creationId xmlns:a16="http://schemas.microsoft.com/office/drawing/2014/main" id="{24FCB893-764E-1CF8-C48A-7401D8F60AC1}"/>
              </a:ext>
            </a:extLst>
          </p:cNvPr>
          <p:cNvSpPr>
            <a:spLocks/>
          </p:cNvSpPr>
          <p:nvPr userDrawn="1"/>
        </p:nvSpPr>
        <p:spPr bwMode="auto">
          <a:xfrm>
            <a:off x="16298863" y="5957888"/>
            <a:ext cx="0" cy="4362450"/>
          </a:xfrm>
          <a:custGeom>
            <a:avLst/>
            <a:gdLst>
              <a:gd name="T0" fmla="*/ 0 h 4362450"/>
              <a:gd name="T1" fmla="*/ 4361867 h 4362450"/>
            </a:gdLst>
            <a:ahLst/>
            <a:cxnLst>
              <a:cxn ang="0">
                <a:pos x="0" y="T0"/>
              </a:cxn>
              <a:cxn ang="0">
                <a:pos x="0" y="T1"/>
              </a:cxn>
            </a:cxnLst>
            <a:rect l="0" t="0" r="r" b="b"/>
            <a:pathLst>
              <a:path h="4362450">
                <a:moveTo>
                  <a:pt x="0" y="0"/>
                </a:moveTo>
                <a:lnTo>
                  <a:pt x="0" y="4361867"/>
                </a:lnTo>
              </a:path>
            </a:pathLst>
          </a:custGeom>
          <a:noFill/>
          <a:ln w="6984">
            <a:solidFill>
              <a:srgbClr val="666666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endParaRPr lang="en-AU"/>
          </a:p>
        </p:txBody>
      </p:sp>
      <p:sp>
        <p:nvSpPr>
          <p:cNvPr id="37" name="object 32">
            <a:extLst>
              <a:ext uri="{FF2B5EF4-FFF2-40B4-BE49-F238E27FC236}">
                <a16:creationId xmlns:a16="http://schemas.microsoft.com/office/drawing/2014/main" id="{B2B24BBC-77B7-EF28-07BC-5664C5CF0B32}"/>
              </a:ext>
            </a:extLst>
          </p:cNvPr>
          <p:cNvSpPr>
            <a:spLocks/>
          </p:cNvSpPr>
          <p:nvPr userDrawn="1"/>
        </p:nvSpPr>
        <p:spPr bwMode="auto">
          <a:xfrm>
            <a:off x="8332788" y="6251575"/>
            <a:ext cx="739775" cy="739775"/>
          </a:xfrm>
          <a:custGeom>
            <a:avLst/>
            <a:gdLst>
              <a:gd name="T0" fmla="*/ 369831 w 739775"/>
              <a:gd name="T1" fmla="*/ 0 h 739775"/>
              <a:gd name="T2" fmla="*/ 323440 w 739775"/>
              <a:gd name="T3" fmla="*/ 2881 h 739775"/>
              <a:gd name="T4" fmla="*/ 278768 w 739775"/>
              <a:gd name="T5" fmla="*/ 11295 h 739775"/>
              <a:gd name="T6" fmla="*/ 236163 w 739775"/>
              <a:gd name="T7" fmla="*/ 24894 h 739775"/>
              <a:gd name="T8" fmla="*/ 195970 w 739775"/>
              <a:gd name="T9" fmla="*/ 43333 h 739775"/>
              <a:gd name="T10" fmla="*/ 158537 w 739775"/>
              <a:gd name="T11" fmla="*/ 66263 h 739775"/>
              <a:gd name="T12" fmla="*/ 124210 w 739775"/>
              <a:gd name="T13" fmla="*/ 93339 h 739775"/>
              <a:gd name="T14" fmla="*/ 93335 w 739775"/>
              <a:gd name="T15" fmla="*/ 124214 h 739775"/>
              <a:gd name="T16" fmla="*/ 66260 w 739775"/>
              <a:gd name="T17" fmla="*/ 158542 h 739775"/>
              <a:gd name="T18" fmla="*/ 43330 w 739775"/>
              <a:gd name="T19" fmla="*/ 195975 h 739775"/>
              <a:gd name="T20" fmla="*/ 24893 w 739775"/>
              <a:gd name="T21" fmla="*/ 236167 h 739775"/>
              <a:gd name="T22" fmla="*/ 11294 w 739775"/>
              <a:gd name="T23" fmla="*/ 278771 h 739775"/>
              <a:gd name="T24" fmla="*/ 2881 w 739775"/>
              <a:gd name="T25" fmla="*/ 323442 h 739775"/>
              <a:gd name="T26" fmla="*/ 0 w 739775"/>
              <a:gd name="T27" fmla="*/ 369831 h 739775"/>
              <a:gd name="T28" fmla="*/ 2881 w 739775"/>
              <a:gd name="T29" fmla="*/ 416223 h 739775"/>
              <a:gd name="T30" fmla="*/ 11294 w 739775"/>
              <a:gd name="T31" fmla="*/ 460894 h 739775"/>
              <a:gd name="T32" fmla="*/ 24893 w 739775"/>
              <a:gd name="T33" fmla="*/ 503500 h 739775"/>
              <a:gd name="T34" fmla="*/ 43330 w 739775"/>
              <a:gd name="T35" fmla="*/ 543692 h 739775"/>
              <a:gd name="T36" fmla="*/ 66260 w 739775"/>
              <a:gd name="T37" fmla="*/ 581125 h 739775"/>
              <a:gd name="T38" fmla="*/ 93335 w 739775"/>
              <a:gd name="T39" fmla="*/ 615452 h 739775"/>
              <a:gd name="T40" fmla="*/ 124210 w 739775"/>
              <a:gd name="T41" fmla="*/ 646327 h 739775"/>
              <a:gd name="T42" fmla="*/ 158537 w 739775"/>
              <a:gd name="T43" fmla="*/ 673402 h 739775"/>
              <a:gd name="T44" fmla="*/ 195970 w 739775"/>
              <a:gd name="T45" fmla="*/ 696332 h 739775"/>
              <a:gd name="T46" fmla="*/ 236163 w 739775"/>
              <a:gd name="T47" fmla="*/ 714769 h 739775"/>
              <a:gd name="T48" fmla="*/ 278768 w 739775"/>
              <a:gd name="T49" fmla="*/ 728368 h 739775"/>
              <a:gd name="T50" fmla="*/ 323440 w 739775"/>
              <a:gd name="T51" fmla="*/ 736781 h 739775"/>
              <a:gd name="T52" fmla="*/ 369831 w 739775"/>
              <a:gd name="T53" fmla="*/ 739663 h 739775"/>
              <a:gd name="T54" fmla="*/ 416223 w 739775"/>
              <a:gd name="T55" fmla="*/ 736781 h 739775"/>
              <a:gd name="T56" fmla="*/ 460894 w 739775"/>
              <a:gd name="T57" fmla="*/ 728368 h 739775"/>
              <a:gd name="T58" fmla="*/ 503500 w 739775"/>
              <a:gd name="T59" fmla="*/ 714769 h 739775"/>
              <a:gd name="T60" fmla="*/ 543692 w 739775"/>
              <a:gd name="T61" fmla="*/ 696332 h 739775"/>
              <a:gd name="T62" fmla="*/ 581125 w 739775"/>
              <a:gd name="T63" fmla="*/ 673402 h 739775"/>
              <a:gd name="T64" fmla="*/ 615452 w 739775"/>
              <a:gd name="T65" fmla="*/ 646327 h 739775"/>
              <a:gd name="T66" fmla="*/ 646327 w 739775"/>
              <a:gd name="T67" fmla="*/ 615452 h 739775"/>
              <a:gd name="T68" fmla="*/ 673402 w 739775"/>
              <a:gd name="T69" fmla="*/ 581125 h 739775"/>
              <a:gd name="T70" fmla="*/ 696332 w 739775"/>
              <a:gd name="T71" fmla="*/ 543692 h 739775"/>
              <a:gd name="T72" fmla="*/ 714769 w 739775"/>
              <a:gd name="T73" fmla="*/ 503500 h 739775"/>
              <a:gd name="T74" fmla="*/ 728368 w 739775"/>
              <a:gd name="T75" fmla="*/ 460894 h 739775"/>
              <a:gd name="T76" fmla="*/ 736781 w 739775"/>
              <a:gd name="T77" fmla="*/ 416223 h 739775"/>
              <a:gd name="T78" fmla="*/ 739663 w 739775"/>
              <a:gd name="T79" fmla="*/ 369831 h 739775"/>
              <a:gd name="T80" fmla="*/ 736781 w 739775"/>
              <a:gd name="T81" fmla="*/ 323442 h 739775"/>
              <a:gd name="T82" fmla="*/ 728368 w 739775"/>
              <a:gd name="T83" fmla="*/ 278771 h 739775"/>
              <a:gd name="T84" fmla="*/ 714769 w 739775"/>
              <a:gd name="T85" fmla="*/ 236167 h 739775"/>
              <a:gd name="T86" fmla="*/ 696332 w 739775"/>
              <a:gd name="T87" fmla="*/ 195975 h 739775"/>
              <a:gd name="T88" fmla="*/ 673402 w 739775"/>
              <a:gd name="T89" fmla="*/ 158542 h 739775"/>
              <a:gd name="T90" fmla="*/ 646327 w 739775"/>
              <a:gd name="T91" fmla="*/ 124214 h 739775"/>
              <a:gd name="T92" fmla="*/ 615452 w 739775"/>
              <a:gd name="T93" fmla="*/ 93339 h 739775"/>
              <a:gd name="T94" fmla="*/ 581125 w 739775"/>
              <a:gd name="T95" fmla="*/ 66263 h 739775"/>
              <a:gd name="T96" fmla="*/ 543692 w 739775"/>
              <a:gd name="T97" fmla="*/ 43333 h 739775"/>
              <a:gd name="T98" fmla="*/ 503500 w 739775"/>
              <a:gd name="T99" fmla="*/ 24894 h 739775"/>
              <a:gd name="T100" fmla="*/ 460894 w 739775"/>
              <a:gd name="T101" fmla="*/ 11295 h 739775"/>
              <a:gd name="T102" fmla="*/ 416223 w 739775"/>
              <a:gd name="T103" fmla="*/ 2881 h 739775"/>
              <a:gd name="T104" fmla="*/ 369831 w 739775"/>
              <a:gd name="T105" fmla="*/ 0 h 7397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739775" h="739775">
                <a:moveTo>
                  <a:pt x="369831" y="0"/>
                </a:moveTo>
                <a:lnTo>
                  <a:pt x="323440" y="2881"/>
                </a:lnTo>
                <a:lnTo>
                  <a:pt x="278768" y="11295"/>
                </a:lnTo>
                <a:lnTo>
                  <a:pt x="236163" y="24894"/>
                </a:lnTo>
                <a:lnTo>
                  <a:pt x="195970" y="43333"/>
                </a:lnTo>
                <a:lnTo>
                  <a:pt x="158537" y="66263"/>
                </a:lnTo>
                <a:lnTo>
                  <a:pt x="124210" y="93339"/>
                </a:lnTo>
                <a:lnTo>
                  <a:pt x="93335" y="124214"/>
                </a:lnTo>
                <a:lnTo>
                  <a:pt x="66260" y="158542"/>
                </a:lnTo>
                <a:lnTo>
                  <a:pt x="43330" y="195975"/>
                </a:lnTo>
                <a:lnTo>
                  <a:pt x="24893" y="236167"/>
                </a:lnTo>
                <a:lnTo>
                  <a:pt x="11294" y="278771"/>
                </a:lnTo>
                <a:lnTo>
                  <a:pt x="2881" y="323442"/>
                </a:lnTo>
                <a:lnTo>
                  <a:pt x="0" y="369831"/>
                </a:lnTo>
                <a:lnTo>
                  <a:pt x="2881" y="416223"/>
                </a:lnTo>
                <a:lnTo>
                  <a:pt x="11294" y="460894"/>
                </a:lnTo>
                <a:lnTo>
                  <a:pt x="24893" y="503500"/>
                </a:lnTo>
                <a:lnTo>
                  <a:pt x="43330" y="543692"/>
                </a:lnTo>
                <a:lnTo>
                  <a:pt x="66260" y="581125"/>
                </a:lnTo>
                <a:lnTo>
                  <a:pt x="93335" y="615452"/>
                </a:lnTo>
                <a:lnTo>
                  <a:pt x="124210" y="646327"/>
                </a:lnTo>
                <a:lnTo>
                  <a:pt x="158537" y="673402"/>
                </a:lnTo>
                <a:lnTo>
                  <a:pt x="195970" y="696332"/>
                </a:lnTo>
                <a:lnTo>
                  <a:pt x="236163" y="714769"/>
                </a:lnTo>
                <a:lnTo>
                  <a:pt x="278768" y="728368"/>
                </a:lnTo>
                <a:lnTo>
                  <a:pt x="323440" y="736781"/>
                </a:lnTo>
                <a:lnTo>
                  <a:pt x="369831" y="739663"/>
                </a:lnTo>
                <a:lnTo>
                  <a:pt x="416223" y="736781"/>
                </a:lnTo>
                <a:lnTo>
                  <a:pt x="460894" y="728368"/>
                </a:lnTo>
                <a:lnTo>
                  <a:pt x="503500" y="714769"/>
                </a:lnTo>
                <a:lnTo>
                  <a:pt x="543692" y="696332"/>
                </a:lnTo>
                <a:lnTo>
                  <a:pt x="581125" y="673402"/>
                </a:lnTo>
                <a:lnTo>
                  <a:pt x="615452" y="646327"/>
                </a:lnTo>
                <a:lnTo>
                  <a:pt x="646327" y="615452"/>
                </a:lnTo>
                <a:lnTo>
                  <a:pt x="673402" y="581125"/>
                </a:lnTo>
                <a:lnTo>
                  <a:pt x="696332" y="543692"/>
                </a:lnTo>
                <a:lnTo>
                  <a:pt x="714769" y="503500"/>
                </a:lnTo>
                <a:lnTo>
                  <a:pt x="728368" y="460894"/>
                </a:lnTo>
                <a:lnTo>
                  <a:pt x="736781" y="416223"/>
                </a:lnTo>
                <a:lnTo>
                  <a:pt x="739663" y="369831"/>
                </a:lnTo>
                <a:lnTo>
                  <a:pt x="736781" y="323442"/>
                </a:lnTo>
                <a:lnTo>
                  <a:pt x="728368" y="278771"/>
                </a:lnTo>
                <a:lnTo>
                  <a:pt x="714769" y="236167"/>
                </a:lnTo>
                <a:lnTo>
                  <a:pt x="696332" y="195975"/>
                </a:lnTo>
                <a:lnTo>
                  <a:pt x="673402" y="158542"/>
                </a:lnTo>
                <a:lnTo>
                  <a:pt x="646327" y="124214"/>
                </a:lnTo>
                <a:lnTo>
                  <a:pt x="615452" y="93339"/>
                </a:lnTo>
                <a:lnTo>
                  <a:pt x="581125" y="66263"/>
                </a:lnTo>
                <a:lnTo>
                  <a:pt x="543692" y="43333"/>
                </a:lnTo>
                <a:lnTo>
                  <a:pt x="503500" y="24894"/>
                </a:lnTo>
                <a:lnTo>
                  <a:pt x="460894" y="11295"/>
                </a:lnTo>
                <a:lnTo>
                  <a:pt x="416223" y="2881"/>
                </a:lnTo>
                <a:lnTo>
                  <a:pt x="369831" y="0"/>
                </a:lnTo>
                <a:close/>
              </a:path>
            </a:pathLst>
          </a:custGeom>
          <a:solidFill>
            <a:srgbClr val="E5E5E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en-AU"/>
          </a:p>
        </p:txBody>
      </p:sp>
      <p:sp>
        <p:nvSpPr>
          <p:cNvPr id="38" name="object 33">
            <a:extLst>
              <a:ext uri="{FF2B5EF4-FFF2-40B4-BE49-F238E27FC236}">
                <a16:creationId xmlns:a16="http://schemas.microsoft.com/office/drawing/2014/main" id="{708000A6-1600-5FF2-0693-04C12CAE3F92}"/>
              </a:ext>
            </a:extLst>
          </p:cNvPr>
          <p:cNvSpPr txBox="1"/>
          <p:nvPr userDrawn="1"/>
        </p:nvSpPr>
        <p:spPr>
          <a:xfrm>
            <a:off x="8426450" y="6540500"/>
            <a:ext cx="552450" cy="176213"/>
          </a:xfrm>
          <a:prstGeom prst="rect">
            <a:avLst/>
          </a:prstGeom>
        </p:spPr>
        <p:txBody>
          <a:bodyPr lIns="0" tIns="15875" rIns="0" bIns="0">
            <a:spAutoFit/>
          </a:bodyPr>
          <a:lstStyle/>
          <a:p>
            <a:pPr marL="12700" algn="ctr" eaLnBrk="1" fontAlgn="auto" hangingPunct="1">
              <a:spcBef>
                <a:spcPts val="125"/>
              </a:spcBef>
              <a:spcAft>
                <a:spcPts val="0"/>
              </a:spcAft>
              <a:defRPr/>
            </a:pPr>
            <a:r>
              <a:rPr lang="it-IT" sz="1050" b="1" spc="290" dirty="0">
                <a:latin typeface="Helvetica Neue"/>
                <a:cs typeface="Helvetica Neue"/>
              </a:rPr>
              <a:t>FIAT</a:t>
            </a:r>
            <a:endParaRPr lang="it-IT" sz="1050" dirty="0">
              <a:latin typeface="Helvetica Neue"/>
              <a:cs typeface="Helvetica Neue"/>
            </a:endParaRPr>
          </a:p>
        </p:txBody>
      </p:sp>
      <p:sp>
        <p:nvSpPr>
          <p:cNvPr id="39" name="object 42">
            <a:extLst>
              <a:ext uri="{FF2B5EF4-FFF2-40B4-BE49-F238E27FC236}">
                <a16:creationId xmlns:a16="http://schemas.microsoft.com/office/drawing/2014/main" id="{E8C3272A-5959-55B5-CA11-52CED7545CDB}"/>
              </a:ext>
            </a:extLst>
          </p:cNvPr>
          <p:cNvSpPr>
            <a:spLocks/>
          </p:cNvSpPr>
          <p:nvPr userDrawn="1"/>
        </p:nvSpPr>
        <p:spPr bwMode="auto">
          <a:xfrm>
            <a:off x="12299950" y="6251575"/>
            <a:ext cx="739775" cy="739775"/>
          </a:xfrm>
          <a:custGeom>
            <a:avLst/>
            <a:gdLst>
              <a:gd name="T0" fmla="*/ 369831 w 739775"/>
              <a:gd name="T1" fmla="*/ 0 h 739775"/>
              <a:gd name="T2" fmla="*/ 323440 w 739775"/>
              <a:gd name="T3" fmla="*/ 2881 h 739775"/>
              <a:gd name="T4" fmla="*/ 278768 w 739775"/>
              <a:gd name="T5" fmla="*/ 11295 h 739775"/>
              <a:gd name="T6" fmla="*/ 236163 w 739775"/>
              <a:gd name="T7" fmla="*/ 24894 h 739775"/>
              <a:gd name="T8" fmla="*/ 195970 w 739775"/>
              <a:gd name="T9" fmla="*/ 43333 h 739775"/>
              <a:gd name="T10" fmla="*/ 158537 w 739775"/>
              <a:gd name="T11" fmla="*/ 66263 h 739775"/>
              <a:gd name="T12" fmla="*/ 124210 w 739775"/>
              <a:gd name="T13" fmla="*/ 93339 h 739775"/>
              <a:gd name="T14" fmla="*/ 93335 w 739775"/>
              <a:gd name="T15" fmla="*/ 124214 h 739775"/>
              <a:gd name="T16" fmla="*/ 66260 w 739775"/>
              <a:gd name="T17" fmla="*/ 158542 h 739775"/>
              <a:gd name="T18" fmla="*/ 43330 w 739775"/>
              <a:gd name="T19" fmla="*/ 195975 h 739775"/>
              <a:gd name="T20" fmla="*/ 24893 w 739775"/>
              <a:gd name="T21" fmla="*/ 236167 h 739775"/>
              <a:gd name="T22" fmla="*/ 11294 w 739775"/>
              <a:gd name="T23" fmla="*/ 278771 h 739775"/>
              <a:gd name="T24" fmla="*/ 2881 w 739775"/>
              <a:gd name="T25" fmla="*/ 323442 h 739775"/>
              <a:gd name="T26" fmla="*/ 0 w 739775"/>
              <a:gd name="T27" fmla="*/ 369831 h 739775"/>
              <a:gd name="T28" fmla="*/ 2881 w 739775"/>
              <a:gd name="T29" fmla="*/ 416223 h 739775"/>
              <a:gd name="T30" fmla="*/ 11294 w 739775"/>
              <a:gd name="T31" fmla="*/ 460894 h 739775"/>
              <a:gd name="T32" fmla="*/ 24893 w 739775"/>
              <a:gd name="T33" fmla="*/ 503500 h 739775"/>
              <a:gd name="T34" fmla="*/ 43330 w 739775"/>
              <a:gd name="T35" fmla="*/ 543692 h 739775"/>
              <a:gd name="T36" fmla="*/ 66260 w 739775"/>
              <a:gd name="T37" fmla="*/ 581125 h 739775"/>
              <a:gd name="T38" fmla="*/ 93335 w 739775"/>
              <a:gd name="T39" fmla="*/ 615452 h 739775"/>
              <a:gd name="T40" fmla="*/ 124210 w 739775"/>
              <a:gd name="T41" fmla="*/ 646327 h 739775"/>
              <a:gd name="T42" fmla="*/ 158537 w 739775"/>
              <a:gd name="T43" fmla="*/ 673402 h 739775"/>
              <a:gd name="T44" fmla="*/ 195970 w 739775"/>
              <a:gd name="T45" fmla="*/ 696332 h 739775"/>
              <a:gd name="T46" fmla="*/ 236163 w 739775"/>
              <a:gd name="T47" fmla="*/ 714769 h 739775"/>
              <a:gd name="T48" fmla="*/ 278768 w 739775"/>
              <a:gd name="T49" fmla="*/ 728368 h 739775"/>
              <a:gd name="T50" fmla="*/ 323440 w 739775"/>
              <a:gd name="T51" fmla="*/ 736781 h 739775"/>
              <a:gd name="T52" fmla="*/ 369831 w 739775"/>
              <a:gd name="T53" fmla="*/ 739663 h 739775"/>
              <a:gd name="T54" fmla="*/ 416223 w 739775"/>
              <a:gd name="T55" fmla="*/ 736781 h 739775"/>
              <a:gd name="T56" fmla="*/ 460894 w 739775"/>
              <a:gd name="T57" fmla="*/ 728368 h 739775"/>
              <a:gd name="T58" fmla="*/ 503500 w 739775"/>
              <a:gd name="T59" fmla="*/ 714769 h 739775"/>
              <a:gd name="T60" fmla="*/ 543692 w 739775"/>
              <a:gd name="T61" fmla="*/ 696332 h 739775"/>
              <a:gd name="T62" fmla="*/ 581125 w 739775"/>
              <a:gd name="T63" fmla="*/ 673402 h 739775"/>
              <a:gd name="T64" fmla="*/ 615452 w 739775"/>
              <a:gd name="T65" fmla="*/ 646327 h 739775"/>
              <a:gd name="T66" fmla="*/ 646327 w 739775"/>
              <a:gd name="T67" fmla="*/ 615452 h 739775"/>
              <a:gd name="T68" fmla="*/ 673402 w 739775"/>
              <a:gd name="T69" fmla="*/ 581125 h 739775"/>
              <a:gd name="T70" fmla="*/ 696332 w 739775"/>
              <a:gd name="T71" fmla="*/ 543692 h 739775"/>
              <a:gd name="T72" fmla="*/ 714769 w 739775"/>
              <a:gd name="T73" fmla="*/ 503500 h 739775"/>
              <a:gd name="T74" fmla="*/ 728368 w 739775"/>
              <a:gd name="T75" fmla="*/ 460894 h 739775"/>
              <a:gd name="T76" fmla="*/ 736781 w 739775"/>
              <a:gd name="T77" fmla="*/ 416223 h 739775"/>
              <a:gd name="T78" fmla="*/ 739663 w 739775"/>
              <a:gd name="T79" fmla="*/ 369831 h 739775"/>
              <a:gd name="T80" fmla="*/ 736781 w 739775"/>
              <a:gd name="T81" fmla="*/ 323442 h 739775"/>
              <a:gd name="T82" fmla="*/ 728368 w 739775"/>
              <a:gd name="T83" fmla="*/ 278771 h 739775"/>
              <a:gd name="T84" fmla="*/ 714769 w 739775"/>
              <a:gd name="T85" fmla="*/ 236167 h 739775"/>
              <a:gd name="T86" fmla="*/ 696332 w 739775"/>
              <a:gd name="T87" fmla="*/ 195975 h 739775"/>
              <a:gd name="T88" fmla="*/ 673402 w 739775"/>
              <a:gd name="T89" fmla="*/ 158542 h 739775"/>
              <a:gd name="T90" fmla="*/ 646327 w 739775"/>
              <a:gd name="T91" fmla="*/ 124214 h 739775"/>
              <a:gd name="T92" fmla="*/ 615452 w 739775"/>
              <a:gd name="T93" fmla="*/ 93339 h 739775"/>
              <a:gd name="T94" fmla="*/ 581125 w 739775"/>
              <a:gd name="T95" fmla="*/ 66263 h 739775"/>
              <a:gd name="T96" fmla="*/ 543692 w 739775"/>
              <a:gd name="T97" fmla="*/ 43333 h 739775"/>
              <a:gd name="T98" fmla="*/ 503500 w 739775"/>
              <a:gd name="T99" fmla="*/ 24894 h 739775"/>
              <a:gd name="T100" fmla="*/ 460894 w 739775"/>
              <a:gd name="T101" fmla="*/ 11295 h 739775"/>
              <a:gd name="T102" fmla="*/ 416223 w 739775"/>
              <a:gd name="T103" fmla="*/ 2881 h 739775"/>
              <a:gd name="T104" fmla="*/ 369831 w 739775"/>
              <a:gd name="T105" fmla="*/ 0 h 7397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739775" h="739775">
                <a:moveTo>
                  <a:pt x="369831" y="0"/>
                </a:moveTo>
                <a:lnTo>
                  <a:pt x="323440" y="2881"/>
                </a:lnTo>
                <a:lnTo>
                  <a:pt x="278768" y="11295"/>
                </a:lnTo>
                <a:lnTo>
                  <a:pt x="236163" y="24894"/>
                </a:lnTo>
                <a:lnTo>
                  <a:pt x="195970" y="43333"/>
                </a:lnTo>
                <a:lnTo>
                  <a:pt x="158537" y="66263"/>
                </a:lnTo>
                <a:lnTo>
                  <a:pt x="124210" y="93339"/>
                </a:lnTo>
                <a:lnTo>
                  <a:pt x="93335" y="124214"/>
                </a:lnTo>
                <a:lnTo>
                  <a:pt x="66260" y="158542"/>
                </a:lnTo>
                <a:lnTo>
                  <a:pt x="43330" y="195975"/>
                </a:lnTo>
                <a:lnTo>
                  <a:pt x="24893" y="236167"/>
                </a:lnTo>
                <a:lnTo>
                  <a:pt x="11294" y="278771"/>
                </a:lnTo>
                <a:lnTo>
                  <a:pt x="2881" y="323442"/>
                </a:lnTo>
                <a:lnTo>
                  <a:pt x="0" y="369831"/>
                </a:lnTo>
                <a:lnTo>
                  <a:pt x="2881" y="416223"/>
                </a:lnTo>
                <a:lnTo>
                  <a:pt x="11294" y="460894"/>
                </a:lnTo>
                <a:lnTo>
                  <a:pt x="24893" y="503500"/>
                </a:lnTo>
                <a:lnTo>
                  <a:pt x="43330" y="543692"/>
                </a:lnTo>
                <a:lnTo>
                  <a:pt x="66260" y="581125"/>
                </a:lnTo>
                <a:lnTo>
                  <a:pt x="93335" y="615452"/>
                </a:lnTo>
                <a:lnTo>
                  <a:pt x="124210" y="646327"/>
                </a:lnTo>
                <a:lnTo>
                  <a:pt x="158537" y="673402"/>
                </a:lnTo>
                <a:lnTo>
                  <a:pt x="195970" y="696332"/>
                </a:lnTo>
                <a:lnTo>
                  <a:pt x="236163" y="714769"/>
                </a:lnTo>
                <a:lnTo>
                  <a:pt x="278768" y="728368"/>
                </a:lnTo>
                <a:lnTo>
                  <a:pt x="323440" y="736781"/>
                </a:lnTo>
                <a:lnTo>
                  <a:pt x="369831" y="739663"/>
                </a:lnTo>
                <a:lnTo>
                  <a:pt x="416223" y="736781"/>
                </a:lnTo>
                <a:lnTo>
                  <a:pt x="460894" y="728368"/>
                </a:lnTo>
                <a:lnTo>
                  <a:pt x="503500" y="714769"/>
                </a:lnTo>
                <a:lnTo>
                  <a:pt x="543692" y="696332"/>
                </a:lnTo>
                <a:lnTo>
                  <a:pt x="581125" y="673402"/>
                </a:lnTo>
                <a:lnTo>
                  <a:pt x="615452" y="646327"/>
                </a:lnTo>
                <a:lnTo>
                  <a:pt x="646327" y="615452"/>
                </a:lnTo>
                <a:lnTo>
                  <a:pt x="673402" y="581125"/>
                </a:lnTo>
                <a:lnTo>
                  <a:pt x="696332" y="543692"/>
                </a:lnTo>
                <a:lnTo>
                  <a:pt x="714769" y="503500"/>
                </a:lnTo>
                <a:lnTo>
                  <a:pt x="728368" y="460894"/>
                </a:lnTo>
                <a:lnTo>
                  <a:pt x="736781" y="416223"/>
                </a:lnTo>
                <a:lnTo>
                  <a:pt x="739663" y="369831"/>
                </a:lnTo>
                <a:lnTo>
                  <a:pt x="736781" y="323442"/>
                </a:lnTo>
                <a:lnTo>
                  <a:pt x="728368" y="278771"/>
                </a:lnTo>
                <a:lnTo>
                  <a:pt x="714769" y="236167"/>
                </a:lnTo>
                <a:lnTo>
                  <a:pt x="696332" y="195975"/>
                </a:lnTo>
                <a:lnTo>
                  <a:pt x="673402" y="158542"/>
                </a:lnTo>
                <a:lnTo>
                  <a:pt x="646327" y="124214"/>
                </a:lnTo>
                <a:lnTo>
                  <a:pt x="615452" y="93339"/>
                </a:lnTo>
                <a:lnTo>
                  <a:pt x="581125" y="66263"/>
                </a:lnTo>
                <a:lnTo>
                  <a:pt x="543692" y="43333"/>
                </a:lnTo>
                <a:lnTo>
                  <a:pt x="503500" y="24894"/>
                </a:lnTo>
                <a:lnTo>
                  <a:pt x="460894" y="11295"/>
                </a:lnTo>
                <a:lnTo>
                  <a:pt x="416223" y="2881"/>
                </a:lnTo>
                <a:lnTo>
                  <a:pt x="369831" y="0"/>
                </a:lnTo>
                <a:close/>
              </a:path>
            </a:pathLst>
          </a:custGeom>
          <a:solidFill>
            <a:srgbClr val="E5E5E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en-AU"/>
          </a:p>
        </p:txBody>
      </p:sp>
      <p:sp>
        <p:nvSpPr>
          <p:cNvPr id="40" name="object 43">
            <a:extLst>
              <a:ext uri="{FF2B5EF4-FFF2-40B4-BE49-F238E27FC236}">
                <a16:creationId xmlns:a16="http://schemas.microsoft.com/office/drawing/2014/main" id="{91A7E474-C859-BFAA-A0A9-21EA5B3CE136}"/>
              </a:ext>
            </a:extLst>
          </p:cNvPr>
          <p:cNvSpPr txBox="1"/>
          <p:nvPr userDrawn="1"/>
        </p:nvSpPr>
        <p:spPr>
          <a:xfrm>
            <a:off x="12272963" y="6540500"/>
            <a:ext cx="795337" cy="176213"/>
          </a:xfrm>
          <a:prstGeom prst="rect">
            <a:avLst/>
          </a:prstGeom>
        </p:spPr>
        <p:txBody>
          <a:bodyPr lIns="0" tIns="15875" rIns="0" bIns="0">
            <a:spAutoFit/>
          </a:bodyPr>
          <a:lstStyle/>
          <a:p>
            <a:pPr marL="12700" algn="ctr" eaLnBrk="1" fontAlgn="auto" hangingPunct="1">
              <a:spcBef>
                <a:spcPts val="125"/>
              </a:spcBef>
              <a:spcAft>
                <a:spcPts val="0"/>
              </a:spcAft>
              <a:defRPr/>
            </a:pPr>
            <a:r>
              <a:rPr lang="it-IT" sz="1050" b="1" spc="195" dirty="0">
                <a:latin typeface="Helvetica Neue"/>
                <a:cs typeface="Helvetica Neue"/>
              </a:rPr>
              <a:t>CITRO</a:t>
            </a:r>
            <a:endParaRPr lang="it-IT" sz="1050" dirty="0">
              <a:latin typeface="Helvetica Neue"/>
              <a:cs typeface="Helvetica Neue"/>
            </a:endParaRPr>
          </a:p>
        </p:txBody>
      </p:sp>
      <p:sp>
        <p:nvSpPr>
          <p:cNvPr id="41" name="object 32">
            <a:extLst>
              <a:ext uri="{FF2B5EF4-FFF2-40B4-BE49-F238E27FC236}">
                <a16:creationId xmlns:a16="http://schemas.microsoft.com/office/drawing/2014/main" id="{74405312-7E82-5B8C-783C-C13DE1F86287}"/>
              </a:ext>
            </a:extLst>
          </p:cNvPr>
          <p:cNvSpPr>
            <a:spLocks/>
          </p:cNvSpPr>
          <p:nvPr userDrawn="1"/>
        </p:nvSpPr>
        <p:spPr bwMode="auto">
          <a:xfrm>
            <a:off x="11479213" y="6251575"/>
            <a:ext cx="739775" cy="739775"/>
          </a:xfrm>
          <a:custGeom>
            <a:avLst/>
            <a:gdLst>
              <a:gd name="T0" fmla="*/ 369831 w 739775"/>
              <a:gd name="T1" fmla="*/ 0 h 739775"/>
              <a:gd name="T2" fmla="*/ 323440 w 739775"/>
              <a:gd name="T3" fmla="*/ 2881 h 739775"/>
              <a:gd name="T4" fmla="*/ 278768 w 739775"/>
              <a:gd name="T5" fmla="*/ 11295 h 739775"/>
              <a:gd name="T6" fmla="*/ 236163 w 739775"/>
              <a:gd name="T7" fmla="*/ 24894 h 739775"/>
              <a:gd name="T8" fmla="*/ 195970 w 739775"/>
              <a:gd name="T9" fmla="*/ 43333 h 739775"/>
              <a:gd name="T10" fmla="*/ 158537 w 739775"/>
              <a:gd name="T11" fmla="*/ 66263 h 739775"/>
              <a:gd name="T12" fmla="*/ 124210 w 739775"/>
              <a:gd name="T13" fmla="*/ 93339 h 739775"/>
              <a:gd name="T14" fmla="*/ 93335 w 739775"/>
              <a:gd name="T15" fmla="*/ 124214 h 739775"/>
              <a:gd name="T16" fmla="*/ 66260 w 739775"/>
              <a:gd name="T17" fmla="*/ 158542 h 739775"/>
              <a:gd name="T18" fmla="*/ 43330 w 739775"/>
              <a:gd name="T19" fmla="*/ 195975 h 739775"/>
              <a:gd name="T20" fmla="*/ 24893 w 739775"/>
              <a:gd name="T21" fmla="*/ 236167 h 739775"/>
              <a:gd name="T22" fmla="*/ 11294 w 739775"/>
              <a:gd name="T23" fmla="*/ 278771 h 739775"/>
              <a:gd name="T24" fmla="*/ 2881 w 739775"/>
              <a:gd name="T25" fmla="*/ 323442 h 739775"/>
              <a:gd name="T26" fmla="*/ 0 w 739775"/>
              <a:gd name="T27" fmla="*/ 369831 h 739775"/>
              <a:gd name="T28" fmla="*/ 2881 w 739775"/>
              <a:gd name="T29" fmla="*/ 416223 h 739775"/>
              <a:gd name="T30" fmla="*/ 11294 w 739775"/>
              <a:gd name="T31" fmla="*/ 460894 h 739775"/>
              <a:gd name="T32" fmla="*/ 24893 w 739775"/>
              <a:gd name="T33" fmla="*/ 503500 h 739775"/>
              <a:gd name="T34" fmla="*/ 43330 w 739775"/>
              <a:gd name="T35" fmla="*/ 543692 h 739775"/>
              <a:gd name="T36" fmla="*/ 66260 w 739775"/>
              <a:gd name="T37" fmla="*/ 581125 h 739775"/>
              <a:gd name="T38" fmla="*/ 93335 w 739775"/>
              <a:gd name="T39" fmla="*/ 615452 h 739775"/>
              <a:gd name="T40" fmla="*/ 124210 w 739775"/>
              <a:gd name="T41" fmla="*/ 646327 h 739775"/>
              <a:gd name="T42" fmla="*/ 158537 w 739775"/>
              <a:gd name="T43" fmla="*/ 673402 h 739775"/>
              <a:gd name="T44" fmla="*/ 195970 w 739775"/>
              <a:gd name="T45" fmla="*/ 696332 h 739775"/>
              <a:gd name="T46" fmla="*/ 236163 w 739775"/>
              <a:gd name="T47" fmla="*/ 714769 h 739775"/>
              <a:gd name="T48" fmla="*/ 278768 w 739775"/>
              <a:gd name="T49" fmla="*/ 728368 h 739775"/>
              <a:gd name="T50" fmla="*/ 323440 w 739775"/>
              <a:gd name="T51" fmla="*/ 736781 h 739775"/>
              <a:gd name="T52" fmla="*/ 369831 w 739775"/>
              <a:gd name="T53" fmla="*/ 739663 h 739775"/>
              <a:gd name="T54" fmla="*/ 416223 w 739775"/>
              <a:gd name="T55" fmla="*/ 736781 h 739775"/>
              <a:gd name="T56" fmla="*/ 460894 w 739775"/>
              <a:gd name="T57" fmla="*/ 728368 h 739775"/>
              <a:gd name="T58" fmla="*/ 503500 w 739775"/>
              <a:gd name="T59" fmla="*/ 714769 h 739775"/>
              <a:gd name="T60" fmla="*/ 543692 w 739775"/>
              <a:gd name="T61" fmla="*/ 696332 h 739775"/>
              <a:gd name="T62" fmla="*/ 581125 w 739775"/>
              <a:gd name="T63" fmla="*/ 673402 h 739775"/>
              <a:gd name="T64" fmla="*/ 615452 w 739775"/>
              <a:gd name="T65" fmla="*/ 646327 h 739775"/>
              <a:gd name="T66" fmla="*/ 646327 w 739775"/>
              <a:gd name="T67" fmla="*/ 615452 h 739775"/>
              <a:gd name="T68" fmla="*/ 673402 w 739775"/>
              <a:gd name="T69" fmla="*/ 581125 h 739775"/>
              <a:gd name="T70" fmla="*/ 696332 w 739775"/>
              <a:gd name="T71" fmla="*/ 543692 h 739775"/>
              <a:gd name="T72" fmla="*/ 714769 w 739775"/>
              <a:gd name="T73" fmla="*/ 503500 h 739775"/>
              <a:gd name="T74" fmla="*/ 728368 w 739775"/>
              <a:gd name="T75" fmla="*/ 460894 h 739775"/>
              <a:gd name="T76" fmla="*/ 736781 w 739775"/>
              <a:gd name="T77" fmla="*/ 416223 h 739775"/>
              <a:gd name="T78" fmla="*/ 739663 w 739775"/>
              <a:gd name="T79" fmla="*/ 369831 h 739775"/>
              <a:gd name="T80" fmla="*/ 736781 w 739775"/>
              <a:gd name="T81" fmla="*/ 323442 h 739775"/>
              <a:gd name="T82" fmla="*/ 728368 w 739775"/>
              <a:gd name="T83" fmla="*/ 278771 h 739775"/>
              <a:gd name="T84" fmla="*/ 714769 w 739775"/>
              <a:gd name="T85" fmla="*/ 236167 h 739775"/>
              <a:gd name="T86" fmla="*/ 696332 w 739775"/>
              <a:gd name="T87" fmla="*/ 195975 h 739775"/>
              <a:gd name="T88" fmla="*/ 673402 w 739775"/>
              <a:gd name="T89" fmla="*/ 158542 h 739775"/>
              <a:gd name="T90" fmla="*/ 646327 w 739775"/>
              <a:gd name="T91" fmla="*/ 124214 h 739775"/>
              <a:gd name="T92" fmla="*/ 615452 w 739775"/>
              <a:gd name="T93" fmla="*/ 93339 h 739775"/>
              <a:gd name="T94" fmla="*/ 581125 w 739775"/>
              <a:gd name="T95" fmla="*/ 66263 h 739775"/>
              <a:gd name="T96" fmla="*/ 543692 w 739775"/>
              <a:gd name="T97" fmla="*/ 43333 h 739775"/>
              <a:gd name="T98" fmla="*/ 503500 w 739775"/>
              <a:gd name="T99" fmla="*/ 24894 h 739775"/>
              <a:gd name="T100" fmla="*/ 460894 w 739775"/>
              <a:gd name="T101" fmla="*/ 11295 h 739775"/>
              <a:gd name="T102" fmla="*/ 416223 w 739775"/>
              <a:gd name="T103" fmla="*/ 2881 h 739775"/>
              <a:gd name="T104" fmla="*/ 369831 w 739775"/>
              <a:gd name="T105" fmla="*/ 0 h 7397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739775" h="739775">
                <a:moveTo>
                  <a:pt x="369831" y="0"/>
                </a:moveTo>
                <a:lnTo>
                  <a:pt x="323440" y="2881"/>
                </a:lnTo>
                <a:lnTo>
                  <a:pt x="278768" y="11295"/>
                </a:lnTo>
                <a:lnTo>
                  <a:pt x="236163" y="24894"/>
                </a:lnTo>
                <a:lnTo>
                  <a:pt x="195970" y="43333"/>
                </a:lnTo>
                <a:lnTo>
                  <a:pt x="158537" y="66263"/>
                </a:lnTo>
                <a:lnTo>
                  <a:pt x="124210" y="93339"/>
                </a:lnTo>
                <a:lnTo>
                  <a:pt x="93335" y="124214"/>
                </a:lnTo>
                <a:lnTo>
                  <a:pt x="66260" y="158542"/>
                </a:lnTo>
                <a:lnTo>
                  <a:pt x="43330" y="195975"/>
                </a:lnTo>
                <a:lnTo>
                  <a:pt x="24893" y="236167"/>
                </a:lnTo>
                <a:lnTo>
                  <a:pt x="11294" y="278771"/>
                </a:lnTo>
                <a:lnTo>
                  <a:pt x="2881" y="323442"/>
                </a:lnTo>
                <a:lnTo>
                  <a:pt x="0" y="369831"/>
                </a:lnTo>
                <a:lnTo>
                  <a:pt x="2881" y="416223"/>
                </a:lnTo>
                <a:lnTo>
                  <a:pt x="11294" y="460894"/>
                </a:lnTo>
                <a:lnTo>
                  <a:pt x="24893" y="503500"/>
                </a:lnTo>
                <a:lnTo>
                  <a:pt x="43330" y="543692"/>
                </a:lnTo>
                <a:lnTo>
                  <a:pt x="66260" y="581125"/>
                </a:lnTo>
                <a:lnTo>
                  <a:pt x="93335" y="615452"/>
                </a:lnTo>
                <a:lnTo>
                  <a:pt x="124210" y="646327"/>
                </a:lnTo>
                <a:lnTo>
                  <a:pt x="158537" y="673402"/>
                </a:lnTo>
                <a:lnTo>
                  <a:pt x="195970" y="696332"/>
                </a:lnTo>
                <a:lnTo>
                  <a:pt x="236163" y="714769"/>
                </a:lnTo>
                <a:lnTo>
                  <a:pt x="278768" y="728368"/>
                </a:lnTo>
                <a:lnTo>
                  <a:pt x="323440" y="736781"/>
                </a:lnTo>
                <a:lnTo>
                  <a:pt x="369831" y="739663"/>
                </a:lnTo>
                <a:lnTo>
                  <a:pt x="416223" y="736781"/>
                </a:lnTo>
                <a:lnTo>
                  <a:pt x="460894" y="728368"/>
                </a:lnTo>
                <a:lnTo>
                  <a:pt x="503500" y="714769"/>
                </a:lnTo>
                <a:lnTo>
                  <a:pt x="543692" y="696332"/>
                </a:lnTo>
                <a:lnTo>
                  <a:pt x="581125" y="673402"/>
                </a:lnTo>
                <a:lnTo>
                  <a:pt x="615452" y="646327"/>
                </a:lnTo>
                <a:lnTo>
                  <a:pt x="646327" y="615452"/>
                </a:lnTo>
                <a:lnTo>
                  <a:pt x="673402" y="581125"/>
                </a:lnTo>
                <a:lnTo>
                  <a:pt x="696332" y="543692"/>
                </a:lnTo>
                <a:lnTo>
                  <a:pt x="714769" y="503500"/>
                </a:lnTo>
                <a:lnTo>
                  <a:pt x="728368" y="460894"/>
                </a:lnTo>
                <a:lnTo>
                  <a:pt x="736781" y="416223"/>
                </a:lnTo>
                <a:lnTo>
                  <a:pt x="739663" y="369831"/>
                </a:lnTo>
                <a:lnTo>
                  <a:pt x="736781" y="323442"/>
                </a:lnTo>
                <a:lnTo>
                  <a:pt x="728368" y="278771"/>
                </a:lnTo>
                <a:lnTo>
                  <a:pt x="714769" y="236167"/>
                </a:lnTo>
                <a:lnTo>
                  <a:pt x="696332" y="195975"/>
                </a:lnTo>
                <a:lnTo>
                  <a:pt x="673402" y="158542"/>
                </a:lnTo>
                <a:lnTo>
                  <a:pt x="646327" y="124214"/>
                </a:lnTo>
                <a:lnTo>
                  <a:pt x="615452" y="93339"/>
                </a:lnTo>
                <a:lnTo>
                  <a:pt x="581125" y="66263"/>
                </a:lnTo>
                <a:lnTo>
                  <a:pt x="543692" y="43333"/>
                </a:lnTo>
                <a:lnTo>
                  <a:pt x="503500" y="24894"/>
                </a:lnTo>
                <a:lnTo>
                  <a:pt x="460894" y="11295"/>
                </a:lnTo>
                <a:lnTo>
                  <a:pt x="416223" y="2881"/>
                </a:lnTo>
                <a:lnTo>
                  <a:pt x="369831" y="0"/>
                </a:lnTo>
                <a:close/>
              </a:path>
            </a:pathLst>
          </a:custGeom>
          <a:solidFill>
            <a:srgbClr val="E5E5E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en-AU"/>
          </a:p>
        </p:txBody>
      </p:sp>
      <p:sp>
        <p:nvSpPr>
          <p:cNvPr id="42" name="object 33">
            <a:extLst>
              <a:ext uri="{FF2B5EF4-FFF2-40B4-BE49-F238E27FC236}">
                <a16:creationId xmlns:a16="http://schemas.microsoft.com/office/drawing/2014/main" id="{6C85F57A-0266-363C-C7AC-2FEA7FF03125}"/>
              </a:ext>
            </a:extLst>
          </p:cNvPr>
          <p:cNvSpPr txBox="1"/>
          <p:nvPr userDrawn="1"/>
        </p:nvSpPr>
        <p:spPr>
          <a:xfrm>
            <a:off x="11572875" y="6540500"/>
            <a:ext cx="552450" cy="176213"/>
          </a:xfrm>
          <a:prstGeom prst="rect">
            <a:avLst/>
          </a:prstGeom>
        </p:spPr>
        <p:txBody>
          <a:bodyPr lIns="0" tIns="15875" rIns="0" bIns="0">
            <a:spAutoFit/>
          </a:bodyPr>
          <a:lstStyle/>
          <a:p>
            <a:pPr marL="12700" algn="ctr" eaLnBrk="1" fontAlgn="auto" hangingPunct="1">
              <a:spcBef>
                <a:spcPts val="125"/>
              </a:spcBef>
              <a:spcAft>
                <a:spcPts val="0"/>
              </a:spcAft>
              <a:defRPr/>
            </a:pPr>
            <a:r>
              <a:rPr lang="it-IT" sz="1050" b="1" spc="290" dirty="0">
                <a:latin typeface="Helvetica Neue"/>
                <a:cs typeface="Helvetica Neue"/>
              </a:rPr>
              <a:t>FIAT</a:t>
            </a:r>
            <a:endParaRPr lang="it-IT" sz="1050" dirty="0">
              <a:latin typeface="Helvetica Neue"/>
              <a:cs typeface="Helvetica Neue"/>
            </a:endParaRPr>
          </a:p>
        </p:txBody>
      </p:sp>
      <p:sp>
        <p:nvSpPr>
          <p:cNvPr id="43" name="object 42">
            <a:extLst>
              <a:ext uri="{FF2B5EF4-FFF2-40B4-BE49-F238E27FC236}">
                <a16:creationId xmlns:a16="http://schemas.microsoft.com/office/drawing/2014/main" id="{93A915FD-9B72-4DAA-EF7F-4AEE9B9C1DFC}"/>
              </a:ext>
            </a:extLst>
          </p:cNvPr>
          <p:cNvSpPr>
            <a:spLocks/>
          </p:cNvSpPr>
          <p:nvPr userDrawn="1"/>
        </p:nvSpPr>
        <p:spPr bwMode="auto">
          <a:xfrm>
            <a:off x="18580100" y="6251575"/>
            <a:ext cx="739775" cy="739775"/>
          </a:xfrm>
          <a:custGeom>
            <a:avLst/>
            <a:gdLst>
              <a:gd name="T0" fmla="*/ 369831 w 739775"/>
              <a:gd name="T1" fmla="*/ 0 h 739775"/>
              <a:gd name="T2" fmla="*/ 323440 w 739775"/>
              <a:gd name="T3" fmla="*/ 2881 h 739775"/>
              <a:gd name="T4" fmla="*/ 278768 w 739775"/>
              <a:gd name="T5" fmla="*/ 11295 h 739775"/>
              <a:gd name="T6" fmla="*/ 236163 w 739775"/>
              <a:gd name="T7" fmla="*/ 24894 h 739775"/>
              <a:gd name="T8" fmla="*/ 195970 w 739775"/>
              <a:gd name="T9" fmla="*/ 43333 h 739775"/>
              <a:gd name="T10" fmla="*/ 158537 w 739775"/>
              <a:gd name="T11" fmla="*/ 66263 h 739775"/>
              <a:gd name="T12" fmla="*/ 124210 w 739775"/>
              <a:gd name="T13" fmla="*/ 93339 h 739775"/>
              <a:gd name="T14" fmla="*/ 93335 w 739775"/>
              <a:gd name="T15" fmla="*/ 124214 h 739775"/>
              <a:gd name="T16" fmla="*/ 66260 w 739775"/>
              <a:gd name="T17" fmla="*/ 158542 h 739775"/>
              <a:gd name="T18" fmla="*/ 43330 w 739775"/>
              <a:gd name="T19" fmla="*/ 195975 h 739775"/>
              <a:gd name="T20" fmla="*/ 24893 w 739775"/>
              <a:gd name="T21" fmla="*/ 236167 h 739775"/>
              <a:gd name="T22" fmla="*/ 11294 w 739775"/>
              <a:gd name="T23" fmla="*/ 278771 h 739775"/>
              <a:gd name="T24" fmla="*/ 2881 w 739775"/>
              <a:gd name="T25" fmla="*/ 323442 h 739775"/>
              <a:gd name="T26" fmla="*/ 0 w 739775"/>
              <a:gd name="T27" fmla="*/ 369831 h 739775"/>
              <a:gd name="T28" fmla="*/ 2881 w 739775"/>
              <a:gd name="T29" fmla="*/ 416223 h 739775"/>
              <a:gd name="T30" fmla="*/ 11294 w 739775"/>
              <a:gd name="T31" fmla="*/ 460894 h 739775"/>
              <a:gd name="T32" fmla="*/ 24893 w 739775"/>
              <a:gd name="T33" fmla="*/ 503500 h 739775"/>
              <a:gd name="T34" fmla="*/ 43330 w 739775"/>
              <a:gd name="T35" fmla="*/ 543692 h 739775"/>
              <a:gd name="T36" fmla="*/ 66260 w 739775"/>
              <a:gd name="T37" fmla="*/ 581125 h 739775"/>
              <a:gd name="T38" fmla="*/ 93335 w 739775"/>
              <a:gd name="T39" fmla="*/ 615452 h 739775"/>
              <a:gd name="T40" fmla="*/ 124210 w 739775"/>
              <a:gd name="T41" fmla="*/ 646327 h 739775"/>
              <a:gd name="T42" fmla="*/ 158537 w 739775"/>
              <a:gd name="T43" fmla="*/ 673402 h 739775"/>
              <a:gd name="T44" fmla="*/ 195970 w 739775"/>
              <a:gd name="T45" fmla="*/ 696332 h 739775"/>
              <a:gd name="T46" fmla="*/ 236163 w 739775"/>
              <a:gd name="T47" fmla="*/ 714769 h 739775"/>
              <a:gd name="T48" fmla="*/ 278768 w 739775"/>
              <a:gd name="T49" fmla="*/ 728368 h 739775"/>
              <a:gd name="T50" fmla="*/ 323440 w 739775"/>
              <a:gd name="T51" fmla="*/ 736781 h 739775"/>
              <a:gd name="T52" fmla="*/ 369831 w 739775"/>
              <a:gd name="T53" fmla="*/ 739663 h 739775"/>
              <a:gd name="T54" fmla="*/ 416223 w 739775"/>
              <a:gd name="T55" fmla="*/ 736781 h 739775"/>
              <a:gd name="T56" fmla="*/ 460894 w 739775"/>
              <a:gd name="T57" fmla="*/ 728368 h 739775"/>
              <a:gd name="T58" fmla="*/ 503500 w 739775"/>
              <a:gd name="T59" fmla="*/ 714769 h 739775"/>
              <a:gd name="T60" fmla="*/ 543692 w 739775"/>
              <a:gd name="T61" fmla="*/ 696332 h 739775"/>
              <a:gd name="T62" fmla="*/ 581125 w 739775"/>
              <a:gd name="T63" fmla="*/ 673402 h 739775"/>
              <a:gd name="T64" fmla="*/ 615452 w 739775"/>
              <a:gd name="T65" fmla="*/ 646327 h 739775"/>
              <a:gd name="T66" fmla="*/ 646327 w 739775"/>
              <a:gd name="T67" fmla="*/ 615452 h 739775"/>
              <a:gd name="T68" fmla="*/ 673402 w 739775"/>
              <a:gd name="T69" fmla="*/ 581125 h 739775"/>
              <a:gd name="T70" fmla="*/ 696332 w 739775"/>
              <a:gd name="T71" fmla="*/ 543692 h 739775"/>
              <a:gd name="T72" fmla="*/ 714769 w 739775"/>
              <a:gd name="T73" fmla="*/ 503500 h 739775"/>
              <a:gd name="T74" fmla="*/ 728368 w 739775"/>
              <a:gd name="T75" fmla="*/ 460894 h 739775"/>
              <a:gd name="T76" fmla="*/ 736781 w 739775"/>
              <a:gd name="T77" fmla="*/ 416223 h 739775"/>
              <a:gd name="T78" fmla="*/ 739663 w 739775"/>
              <a:gd name="T79" fmla="*/ 369831 h 739775"/>
              <a:gd name="T80" fmla="*/ 736781 w 739775"/>
              <a:gd name="T81" fmla="*/ 323442 h 739775"/>
              <a:gd name="T82" fmla="*/ 728368 w 739775"/>
              <a:gd name="T83" fmla="*/ 278771 h 739775"/>
              <a:gd name="T84" fmla="*/ 714769 w 739775"/>
              <a:gd name="T85" fmla="*/ 236167 h 739775"/>
              <a:gd name="T86" fmla="*/ 696332 w 739775"/>
              <a:gd name="T87" fmla="*/ 195975 h 739775"/>
              <a:gd name="T88" fmla="*/ 673402 w 739775"/>
              <a:gd name="T89" fmla="*/ 158542 h 739775"/>
              <a:gd name="T90" fmla="*/ 646327 w 739775"/>
              <a:gd name="T91" fmla="*/ 124214 h 739775"/>
              <a:gd name="T92" fmla="*/ 615452 w 739775"/>
              <a:gd name="T93" fmla="*/ 93339 h 739775"/>
              <a:gd name="T94" fmla="*/ 581125 w 739775"/>
              <a:gd name="T95" fmla="*/ 66263 h 739775"/>
              <a:gd name="T96" fmla="*/ 543692 w 739775"/>
              <a:gd name="T97" fmla="*/ 43333 h 739775"/>
              <a:gd name="T98" fmla="*/ 503500 w 739775"/>
              <a:gd name="T99" fmla="*/ 24894 h 739775"/>
              <a:gd name="T100" fmla="*/ 460894 w 739775"/>
              <a:gd name="T101" fmla="*/ 11295 h 739775"/>
              <a:gd name="T102" fmla="*/ 416223 w 739775"/>
              <a:gd name="T103" fmla="*/ 2881 h 739775"/>
              <a:gd name="T104" fmla="*/ 369831 w 739775"/>
              <a:gd name="T105" fmla="*/ 0 h 7397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739775" h="739775">
                <a:moveTo>
                  <a:pt x="369831" y="0"/>
                </a:moveTo>
                <a:lnTo>
                  <a:pt x="323440" y="2881"/>
                </a:lnTo>
                <a:lnTo>
                  <a:pt x="278768" y="11295"/>
                </a:lnTo>
                <a:lnTo>
                  <a:pt x="236163" y="24894"/>
                </a:lnTo>
                <a:lnTo>
                  <a:pt x="195970" y="43333"/>
                </a:lnTo>
                <a:lnTo>
                  <a:pt x="158537" y="66263"/>
                </a:lnTo>
                <a:lnTo>
                  <a:pt x="124210" y="93339"/>
                </a:lnTo>
                <a:lnTo>
                  <a:pt x="93335" y="124214"/>
                </a:lnTo>
                <a:lnTo>
                  <a:pt x="66260" y="158542"/>
                </a:lnTo>
                <a:lnTo>
                  <a:pt x="43330" y="195975"/>
                </a:lnTo>
                <a:lnTo>
                  <a:pt x="24893" y="236167"/>
                </a:lnTo>
                <a:lnTo>
                  <a:pt x="11294" y="278771"/>
                </a:lnTo>
                <a:lnTo>
                  <a:pt x="2881" y="323442"/>
                </a:lnTo>
                <a:lnTo>
                  <a:pt x="0" y="369831"/>
                </a:lnTo>
                <a:lnTo>
                  <a:pt x="2881" y="416223"/>
                </a:lnTo>
                <a:lnTo>
                  <a:pt x="11294" y="460894"/>
                </a:lnTo>
                <a:lnTo>
                  <a:pt x="24893" y="503500"/>
                </a:lnTo>
                <a:lnTo>
                  <a:pt x="43330" y="543692"/>
                </a:lnTo>
                <a:lnTo>
                  <a:pt x="66260" y="581125"/>
                </a:lnTo>
                <a:lnTo>
                  <a:pt x="93335" y="615452"/>
                </a:lnTo>
                <a:lnTo>
                  <a:pt x="124210" y="646327"/>
                </a:lnTo>
                <a:lnTo>
                  <a:pt x="158537" y="673402"/>
                </a:lnTo>
                <a:lnTo>
                  <a:pt x="195970" y="696332"/>
                </a:lnTo>
                <a:lnTo>
                  <a:pt x="236163" y="714769"/>
                </a:lnTo>
                <a:lnTo>
                  <a:pt x="278768" y="728368"/>
                </a:lnTo>
                <a:lnTo>
                  <a:pt x="323440" y="736781"/>
                </a:lnTo>
                <a:lnTo>
                  <a:pt x="369831" y="739663"/>
                </a:lnTo>
                <a:lnTo>
                  <a:pt x="416223" y="736781"/>
                </a:lnTo>
                <a:lnTo>
                  <a:pt x="460894" y="728368"/>
                </a:lnTo>
                <a:lnTo>
                  <a:pt x="503500" y="714769"/>
                </a:lnTo>
                <a:lnTo>
                  <a:pt x="543692" y="696332"/>
                </a:lnTo>
                <a:lnTo>
                  <a:pt x="581125" y="673402"/>
                </a:lnTo>
                <a:lnTo>
                  <a:pt x="615452" y="646327"/>
                </a:lnTo>
                <a:lnTo>
                  <a:pt x="646327" y="615452"/>
                </a:lnTo>
                <a:lnTo>
                  <a:pt x="673402" y="581125"/>
                </a:lnTo>
                <a:lnTo>
                  <a:pt x="696332" y="543692"/>
                </a:lnTo>
                <a:lnTo>
                  <a:pt x="714769" y="503500"/>
                </a:lnTo>
                <a:lnTo>
                  <a:pt x="728368" y="460894"/>
                </a:lnTo>
                <a:lnTo>
                  <a:pt x="736781" y="416223"/>
                </a:lnTo>
                <a:lnTo>
                  <a:pt x="739663" y="369831"/>
                </a:lnTo>
                <a:lnTo>
                  <a:pt x="736781" y="323442"/>
                </a:lnTo>
                <a:lnTo>
                  <a:pt x="728368" y="278771"/>
                </a:lnTo>
                <a:lnTo>
                  <a:pt x="714769" y="236167"/>
                </a:lnTo>
                <a:lnTo>
                  <a:pt x="696332" y="195975"/>
                </a:lnTo>
                <a:lnTo>
                  <a:pt x="673402" y="158542"/>
                </a:lnTo>
                <a:lnTo>
                  <a:pt x="646327" y="124214"/>
                </a:lnTo>
                <a:lnTo>
                  <a:pt x="615452" y="93339"/>
                </a:lnTo>
                <a:lnTo>
                  <a:pt x="581125" y="66263"/>
                </a:lnTo>
                <a:lnTo>
                  <a:pt x="543692" y="43333"/>
                </a:lnTo>
                <a:lnTo>
                  <a:pt x="503500" y="24894"/>
                </a:lnTo>
                <a:lnTo>
                  <a:pt x="460894" y="11295"/>
                </a:lnTo>
                <a:lnTo>
                  <a:pt x="416223" y="2881"/>
                </a:lnTo>
                <a:lnTo>
                  <a:pt x="369831" y="0"/>
                </a:lnTo>
                <a:close/>
              </a:path>
            </a:pathLst>
          </a:custGeom>
          <a:solidFill>
            <a:srgbClr val="E5E5E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en-AU"/>
          </a:p>
        </p:txBody>
      </p:sp>
      <p:sp>
        <p:nvSpPr>
          <p:cNvPr id="44" name="object 43">
            <a:extLst>
              <a:ext uri="{FF2B5EF4-FFF2-40B4-BE49-F238E27FC236}">
                <a16:creationId xmlns:a16="http://schemas.microsoft.com/office/drawing/2014/main" id="{CB063E23-DF7F-8B13-3F91-5BA7D357FE2A}"/>
              </a:ext>
            </a:extLst>
          </p:cNvPr>
          <p:cNvSpPr txBox="1"/>
          <p:nvPr userDrawn="1"/>
        </p:nvSpPr>
        <p:spPr>
          <a:xfrm>
            <a:off x="18551525" y="6540500"/>
            <a:ext cx="796925" cy="176213"/>
          </a:xfrm>
          <a:prstGeom prst="rect">
            <a:avLst/>
          </a:prstGeom>
        </p:spPr>
        <p:txBody>
          <a:bodyPr lIns="0" tIns="15875" rIns="0" bIns="0">
            <a:spAutoFit/>
          </a:bodyPr>
          <a:lstStyle/>
          <a:p>
            <a:pPr marL="12700" algn="ctr" eaLnBrk="1" fontAlgn="auto" hangingPunct="1">
              <a:spcBef>
                <a:spcPts val="125"/>
              </a:spcBef>
              <a:spcAft>
                <a:spcPts val="0"/>
              </a:spcAft>
              <a:defRPr/>
            </a:pPr>
            <a:r>
              <a:rPr lang="it-IT" sz="1050" b="1" spc="195" dirty="0">
                <a:latin typeface="Helvetica Neue"/>
                <a:cs typeface="Helvetica Neue"/>
              </a:rPr>
              <a:t>CITRO</a:t>
            </a:r>
            <a:endParaRPr lang="it-IT" sz="1050" dirty="0">
              <a:latin typeface="Helvetica Neue"/>
              <a:cs typeface="Helvetica Neue"/>
            </a:endParaRPr>
          </a:p>
        </p:txBody>
      </p:sp>
      <p:sp>
        <p:nvSpPr>
          <p:cNvPr id="45" name="object 32">
            <a:extLst>
              <a:ext uri="{FF2B5EF4-FFF2-40B4-BE49-F238E27FC236}">
                <a16:creationId xmlns:a16="http://schemas.microsoft.com/office/drawing/2014/main" id="{CD4D0DC9-3C09-0444-3DD8-E7652887711F}"/>
              </a:ext>
            </a:extLst>
          </p:cNvPr>
          <p:cNvSpPr>
            <a:spLocks/>
          </p:cNvSpPr>
          <p:nvPr userDrawn="1"/>
        </p:nvSpPr>
        <p:spPr bwMode="auto">
          <a:xfrm>
            <a:off x="17759363" y="6251575"/>
            <a:ext cx="739775" cy="739775"/>
          </a:xfrm>
          <a:custGeom>
            <a:avLst/>
            <a:gdLst>
              <a:gd name="T0" fmla="*/ 369831 w 739775"/>
              <a:gd name="T1" fmla="*/ 0 h 739775"/>
              <a:gd name="T2" fmla="*/ 323440 w 739775"/>
              <a:gd name="T3" fmla="*/ 2881 h 739775"/>
              <a:gd name="T4" fmla="*/ 278768 w 739775"/>
              <a:gd name="T5" fmla="*/ 11295 h 739775"/>
              <a:gd name="T6" fmla="*/ 236163 w 739775"/>
              <a:gd name="T7" fmla="*/ 24894 h 739775"/>
              <a:gd name="T8" fmla="*/ 195970 w 739775"/>
              <a:gd name="T9" fmla="*/ 43333 h 739775"/>
              <a:gd name="T10" fmla="*/ 158537 w 739775"/>
              <a:gd name="T11" fmla="*/ 66263 h 739775"/>
              <a:gd name="T12" fmla="*/ 124210 w 739775"/>
              <a:gd name="T13" fmla="*/ 93339 h 739775"/>
              <a:gd name="T14" fmla="*/ 93335 w 739775"/>
              <a:gd name="T15" fmla="*/ 124214 h 739775"/>
              <a:gd name="T16" fmla="*/ 66260 w 739775"/>
              <a:gd name="T17" fmla="*/ 158542 h 739775"/>
              <a:gd name="T18" fmla="*/ 43330 w 739775"/>
              <a:gd name="T19" fmla="*/ 195975 h 739775"/>
              <a:gd name="T20" fmla="*/ 24893 w 739775"/>
              <a:gd name="T21" fmla="*/ 236167 h 739775"/>
              <a:gd name="T22" fmla="*/ 11294 w 739775"/>
              <a:gd name="T23" fmla="*/ 278771 h 739775"/>
              <a:gd name="T24" fmla="*/ 2881 w 739775"/>
              <a:gd name="T25" fmla="*/ 323442 h 739775"/>
              <a:gd name="T26" fmla="*/ 0 w 739775"/>
              <a:gd name="T27" fmla="*/ 369831 h 739775"/>
              <a:gd name="T28" fmla="*/ 2881 w 739775"/>
              <a:gd name="T29" fmla="*/ 416223 h 739775"/>
              <a:gd name="T30" fmla="*/ 11294 w 739775"/>
              <a:gd name="T31" fmla="*/ 460894 h 739775"/>
              <a:gd name="T32" fmla="*/ 24893 w 739775"/>
              <a:gd name="T33" fmla="*/ 503500 h 739775"/>
              <a:gd name="T34" fmla="*/ 43330 w 739775"/>
              <a:gd name="T35" fmla="*/ 543692 h 739775"/>
              <a:gd name="T36" fmla="*/ 66260 w 739775"/>
              <a:gd name="T37" fmla="*/ 581125 h 739775"/>
              <a:gd name="T38" fmla="*/ 93335 w 739775"/>
              <a:gd name="T39" fmla="*/ 615452 h 739775"/>
              <a:gd name="T40" fmla="*/ 124210 w 739775"/>
              <a:gd name="T41" fmla="*/ 646327 h 739775"/>
              <a:gd name="T42" fmla="*/ 158537 w 739775"/>
              <a:gd name="T43" fmla="*/ 673402 h 739775"/>
              <a:gd name="T44" fmla="*/ 195970 w 739775"/>
              <a:gd name="T45" fmla="*/ 696332 h 739775"/>
              <a:gd name="T46" fmla="*/ 236163 w 739775"/>
              <a:gd name="T47" fmla="*/ 714769 h 739775"/>
              <a:gd name="T48" fmla="*/ 278768 w 739775"/>
              <a:gd name="T49" fmla="*/ 728368 h 739775"/>
              <a:gd name="T50" fmla="*/ 323440 w 739775"/>
              <a:gd name="T51" fmla="*/ 736781 h 739775"/>
              <a:gd name="T52" fmla="*/ 369831 w 739775"/>
              <a:gd name="T53" fmla="*/ 739663 h 739775"/>
              <a:gd name="T54" fmla="*/ 416223 w 739775"/>
              <a:gd name="T55" fmla="*/ 736781 h 739775"/>
              <a:gd name="T56" fmla="*/ 460894 w 739775"/>
              <a:gd name="T57" fmla="*/ 728368 h 739775"/>
              <a:gd name="T58" fmla="*/ 503500 w 739775"/>
              <a:gd name="T59" fmla="*/ 714769 h 739775"/>
              <a:gd name="T60" fmla="*/ 543692 w 739775"/>
              <a:gd name="T61" fmla="*/ 696332 h 739775"/>
              <a:gd name="T62" fmla="*/ 581125 w 739775"/>
              <a:gd name="T63" fmla="*/ 673402 h 739775"/>
              <a:gd name="T64" fmla="*/ 615452 w 739775"/>
              <a:gd name="T65" fmla="*/ 646327 h 739775"/>
              <a:gd name="T66" fmla="*/ 646327 w 739775"/>
              <a:gd name="T67" fmla="*/ 615452 h 739775"/>
              <a:gd name="T68" fmla="*/ 673402 w 739775"/>
              <a:gd name="T69" fmla="*/ 581125 h 739775"/>
              <a:gd name="T70" fmla="*/ 696332 w 739775"/>
              <a:gd name="T71" fmla="*/ 543692 h 739775"/>
              <a:gd name="T72" fmla="*/ 714769 w 739775"/>
              <a:gd name="T73" fmla="*/ 503500 h 739775"/>
              <a:gd name="T74" fmla="*/ 728368 w 739775"/>
              <a:gd name="T75" fmla="*/ 460894 h 739775"/>
              <a:gd name="T76" fmla="*/ 736781 w 739775"/>
              <a:gd name="T77" fmla="*/ 416223 h 739775"/>
              <a:gd name="T78" fmla="*/ 739663 w 739775"/>
              <a:gd name="T79" fmla="*/ 369831 h 739775"/>
              <a:gd name="T80" fmla="*/ 736781 w 739775"/>
              <a:gd name="T81" fmla="*/ 323442 h 739775"/>
              <a:gd name="T82" fmla="*/ 728368 w 739775"/>
              <a:gd name="T83" fmla="*/ 278771 h 739775"/>
              <a:gd name="T84" fmla="*/ 714769 w 739775"/>
              <a:gd name="T85" fmla="*/ 236167 h 739775"/>
              <a:gd name="T86" fmla="*/ 696332 w 739775"/>
              <a:gd name="T87" fmla="*/ 195975 h 739775"/>
              <a:gd name="T88" fmla="*/ 673402 w 739775"/>
              <a:gd name="T89" fmla="*/ 158542 h 739775"/>
              <a:gd name="T90" fmla="*/ 646327 w 739775"/>
              <a:gd name="T91" fmla="*/ 124214 h 739775"/>
              <a:gd name="T92" fmla="*/ 615452 w 739775"/>
              <a:gd name="T93" fmla="*/ 93339 h 739775"/>
              <a:gd name="T94" fmla="*/ 581125 w 739775"/>
              <a:gd name="T95" fmla="*/ 66263 h 739775"/>
              <a:gd name="T96" fmla="*/ 543692 w 739775"/>
              <a:gd name="T97" fmla="*/ 43333 h 739775"/>
              <a:gd name="T98" fmla="*/ 503500 w 739775"/>
              <a:gd name="T99" fmla="*/ 24894 h 739775"/>
              <a:gd name="T100" fmla="*/ 460894 w 739775"/>
              <a:gd name="T101" fmla="*/ 11295 h 739775"/>
              <a:gd name="T102" fmla="*/ 416223 w 739775"/>
              <a:gd name="T103" fmla="*/ 2881 h 739775"/>
              <a:gd name="T104" fmla="*/ 369831 w 739775"/>
              <a:gd name="T105" fmla="*/ 0 h 7397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739775" h="739775">
                <a:moveTo>
                  <a:pt x="369831" y="0"/>
                </a:moveTo>
                <a:lnTo>
                  <a:pt x="323440" y="2881"/>
                </a:lnTo>
                <a:lnTo>
                  <a:pt x="278768" y="11295"/>
                </a:lnTo>
                <a:lnTo>
                  <a:pt x="236163" y="24894"/>
                </a:lnTo>
                <a:lnTo>
                  <a:pt x="195970" y="43333"/>
                </a:lnTo>
                <a:lnTo>
                  <a:pt x="158537" y="66263"/>
                </a:lnTo>
                <a:lnTo>
                  <a:pt x="124210" y="93339"/>
                </a:lnTo>
                <a:lnTo>
                  <a:pt x="93335" y="124214"/>
                </a:lnTo>
                <a:lnTo>
                  <a:pt x="66260" y="158542"/>
                </a:lnTo>
                <a:lnTo>
                  <a:pt x="43330" y="195975"/>
                </a:lnTo>
                <a:lnTo>
                  <a:pt x="24893" y="236167"/>
                </a:lnTo>
                <a:lnTo>
                  <a:pt x="11294" y="278771"/>
                </a:lnTo>
                <a:lnTo>
                  <a:pt x="2881" y="323442"/>
                </a:lnTo>
                <a:lnTo>
                  <a:pt x="0" y="369831"/>
                </a:lnTo>
                <a:lnTo>
                  <a:pt x="2881" y="416223"/>
                </a:lnTo>
                <a:lnTo>
                  <a:pt x="11294" y="460894"/>
                </a:lnTo>
                <a:lnTo>
                  <a:pt x="24893" y="503500"/>
                </a:lnTo>
                <a:lnTo>
                  <a:pt x="43330" y="543692"/>
                </a:lnTo>
                <a:lnTo>
                  <a:pt x="66260" y="581125"/>
                </a:lnTo>
                <a:lnTo>
                  <a:pt x="93335" y="615452"/>
                </a:lnTo>
                <a:lnTo>
                  <a:pt x="124210" y="646327"/>
                </a:lnTo>
                <a:lnTo>
                  <a:pt x="158537" y="673402"/>
                </a:lnTo>
                <a:lnTo>
                  <a:pt x="195970" y="696332"/>
                </a:lnTo>
                <a:lnTo>
                  <a:pt x="236163" y="714769"/>
                </a:lnTo>
                <a:lnTo>
                  <a:pt x="278768" y="728368"/>
                </a:lnTo>
                <a:lnTo>
                  <a:pt x="323440" y="736781"/>
                </a:lnTo>
                <a:lnTo>
                  <a:pt x="369831" y="739663"/>
                </a:lnTo>
                <a:lnTo>
                  <a:pt x="416223" y="736781"/>
                </a:lnTo>
                <a:lnTo>
                  <a:pt x="460894" y="728368"/>
                </a:lnTo>
                <a:lnTo>
                  <a:pt x="503500" y="714769"/>
                </a:lnTo>
                <a:lnTo>
                  <a:pt x="543692" y="696332"/>
                </a:lnTo>
                <a:lnTo>
                  <a:pt x="581125" y="673402"/>
                </a:lnTo>
                <a:lnTo>
                  <a:pt x="615452" y="646327"/>
                </a:lnTo>
                <a:lnTo>
                  <a:pt x="646327" y="615452"/>
                </a:lnTo>
                <a:lnTo>
                  <a:pt x="673402" y="581125"/>
                </a:lnTo>
                <a:lnTo>
                  <a:pt x="696332" y="543692"/>
                </a:lnTo>
                <a:lnTo>
                  <a:pt x="714769" y="503500"/>
                </a:lnTo>
                <a:lnTo>
                  <a:pt x="728368" y="460894"/>
                </a:lnTo>
                <a:lnTo>
                  <a:pt x="736781" y="416223"/>
                </a:lnTo>
                <a:lnTo>
                  <a:pt x="739663" y="369831"/>
                </a:lnTo>
                <a:lnTo>
                  <a:pt x="736781" y="323442"/>
                </a:lnTo>
                <a:lnTo>
                  <a:pt x="728368" y="278771"/>
                </a:lnTo>
                <a:lnTo>
                  <a:pt x="714769" y="236167"/>
                </a:lnTo>
                <a:lnTo>
                  <a:pt x="696332" y="195975"/>
                </a:lnTo>
                <a:lnTo>
                  <a:pt x="673402" y="158542"/>
                </a:lnTo>
                <a:lnTo>
                  <a:pt x="646327" y="124214"/>
                </a:lnTo>
                <a:lnTo>
                  <a:pt x="615452" y="93339"/>
                </a:lnTo>
                <a:lnTo>
                  <a:pt x="581125" y="66263"/>
                </a:lnTo>
                <a:lnTo>
                  <a:pt x="543692" y="43333"/>
                </a:lnTo>
                <a:lnTo>
                  <a:pt x="503500" y="24894"/>
                </a:lnTo>
                <a:lnTo>
                  <a:pt x="460894" y="11295"/>
                </a:lnTo>
                <a:lnTo>
                  <a:pt x="416223" y="2881"/>
                </a:lnTo>
                <a:lnTo>
                  <a:pt x="369831" y="0"/>
                </a:lnTo>
                <a:close/>
              </a:path>
            </a:pathLst>
          </a:custGeom>
          <a:solidFill>
            <a:srgbClr val="E5E5E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en-AU"/>
          </a:p>
        </p:txBody>
      </p:sp>
      <p:sp>
        <p:nvSpPr>
          <p:cNvPr id="46" name="object 33">
            <a:extLst>
              <a:ext uri="{FF2B5EF4-FFF2-40B4-BE49-F238E27FC236}">
                <a16:creationId xmlns:a16="http://schemas.microsoft.com/office/drawing/2014/main" id="{B62119B1-3143-B387-07C3-0BB70E89E3AE}"/>
              </a:ext>
            </a:extLst>
          </p:cNvPr>
          <p:cNvSpPr txBox="1"/>
          <p:nvPr userDrawn="1"/>
        </p:nvSpPr>
        <p:spPr>
          <a:xfrm>
            <a:off x="17853025" y="6540500"/>
            <a:ext cx="552450" cy="176213"/>
          </a:xfrm>
          <a:prstGeom prst="rect">
            <a:avLst/>
          </a:prstGeom>
        </p:spPr>
        <p:txBody>
          <a:bodyPr lIns="0" tIns="15875" rIns="0" bIns="0">
            <a:spAutoFit/>
          </a:bodyPr>
          <a:lstStyle/>
          <a:p>
            <a:pPr marL="12700" algn="ctr" eaLnBrk="1" fontAlgn="auto" hangingPunct="1">
              <a:spcBef>
                <a:spcPts val="125"/>
              </a:spcBef>
              <a:spcAft>
                <a:spcPts val="0"/>
              </a:spcAft>
              <a:defRPr/>
            </a:pPr>
            <a:r>
              <a:rPr lang="it-IT" sz="1050" b="1" spc="290" dirty="0">
                <a:latin typeface="Helvetica Neue"/>
                <a:cs typeface="Helvetica Neue"/>
              </a:rPr>
              <a:t>FIAT</a:t>
            </a:r>
            <a:endParaRPr lang="it-IT" sz="1050" dirty="0">
              <a:latin typeface="Helvetica Neue"/>
              <a:cs typeface="Helvetica Neue"/>
            </a:endParaRPr>
          </a:p>
        </p:txBody>
      </p:sp>
      <p:sp>
        <p:nvSpPr>
          <p:cNvPr id="47" name="object 42">
            <a:extLst>
              <a:ext uri="{FF2B5EF4-FFF2-40B4-BE49-F238E27FC236}">
                <a16:creationId xmlns:a16="http://schemas.microsoft.com/office/drawing/2014/main" id="{DCD45F04-A4E9-9D0D-DA50-2A9EF430A42B}"/>
              </a:ext>
            </a:extLst>
          </p:cNvPr>
          <p:cNvSpPr>
            <a:spLocks/>
          </p:cNvSpPr>
          <p:nvPr userDrawn="1"/>
        </p:nvSpPr>
        <p:spPr bwMode="auto">
          <a:xfrm>
            <a:off x="14801850" y="6251575"/>
            <a:ext cx="739775" cy="739775"/>
          </a:xfrm>
          <a:custGeom>
            <a:avLst/>
            <a:gdLst>
              <a:gd name="T0" fmla="*/ 369831 w 739775"/>
              <a:gd name="T1" fmla="*/ 0 h 739775"/>
              <a:gd name="T2" fmla="*/ 323440 w 739775"/>
              <a:gd name="T3" fmla="*/ 2881 h 739775"/>
              <a:gd name="T4" fmla="*/ 278768 w 739775"/>
              <a:gd name="T5" fmla="*/ 11295 h 739775"/>
              <a:gd name="T6" fmla="*/ 236163 w 739775"/>
              <a:gd name="T7" fmla="*/ 24894 h 739775"/>
              <a:gd name="T8" fmla="*/ 195970 w 739775"/>
              <a:gd name="T9" fmla="*/ 43333 h 739775"/>
              <a:gd name="T10" fmla="*/ 158537 w 739775"/>
              <a:gd name="T11" fmla="*/ 66263 h 739775"/>
              <a:gd name="T12" fmla="*/ 124210 w 739775"/>
              <a:gd name="T13" fmla="*/ 93339 h 739775"/>
              <a:gd name="T14" fmla="*/ 93335 w 739775"/>
              <a:gd name="T15" fmla="*/ 124214 h 739775"/>
              <a:gd name="T16" fmla="*/ 66260 w 739775"/>
              <a:gd name="T17" fmla="*/ 158542 h 739775"/>
              <a:gd name="T18" fmla="*/ 43330 w 739775"/>
              <a:gd name="T19" fmla="*/ 195975 h 739775"/>
              <a:gd name="T20" fmla="*/ 24893 w 739775"/>
              <a:gd name="T21" fmla="*/ 236167 h 739775"/>
              <a:gd name="T22" fmla="*/ 11294 w 739775"/>
              <a:gd name="T23" fmla="*/ 278771 h 739775"/>
              <a:gd name="T24" fmla="*/ 2881 w 739775"/>
              <a:gd name="T25" fmla="*/ 323442 h 739775"/>
              <a:gd name="T26" fmla="*/ 0 w 739775"/>
              <a:gd name="T27" fmla="*/ 369831 h 739775"/>
              <a:gd name="T28" fmla="*/ 2881 w 739775"/>
              <a:gd name="T29" fmla="*/ 416223 h 739775"/>
              <a:gd name="T30" fmla="*/ 11294 w 739775"/>
              <a:gd name="T31" fmla="*/ 460894 h 739775"/>
              <a:gd name="T32" fmla="*/ 24893 w 739775"/>
              <a:gd name="T33" fmla="*/ 503500 h 739775"/>
              <a:gd name="T34" fmla="*/ 43330 w 739775"/>
              <a:gd name="T35" fmla="*/ 543692 h 739775"/>
              <a:gd name="T36" fmla="*/ 66260 w 739775"/>
              <a:gd name="T37" fmla="*/ 581125 h 739775"/>
              <a:gd name="T38" fmla="*/ 93335 w 739775"/>
              <a:gd name="T39" fmla="*/ 615452 h 739775"/>
              <a:gd name="T40" fmla="*/ 124210 w 739775"/>
              <a:gd name="T41" fmla="*/ 646327 h 739775"/>
              <a:gd name="T42" fmla="*/ 158537 w 739775"/>
              <a:gd name="T43" fmla="*/ 673402 h 739775"/>
              <a:gd name="T44" fmla="*/ 195970 w 739775"/>
              <a:gd name="T45" fmla="*/ 696332 h 739775"/>
              <a:gd name="T46" fmla="*/ 236163 w 739775"/>
              <a:gd name="T47" fmla="*/ 714769 h 739775"/>
              <a:gd name="T48" fmla="*/ 278768 w 739775"/>
              <a:gd name="T49" fmla="*/ 728368 h 739775"/>
              <a:gd name="T50" fmla="*/ 323440 w 739775"/>
              <a:gd name="T51" fmla="*/ 736781 h 739775"/>
              <a:gd name="T52" fmla="*/ 369831 w 739775"/>
              <a:gd name="T53" fmla="*/ 739663 h 739775"/>
              <a:gd name="T54" fmla="*/ 416223 w 739775"/>
              <a:gd name="T55" fmla="*/ 736781 h 739775"/>
              <a:gd name="T56" fmla="*/ 460894 w 739775"/>
              <a:gd name="T57" fmla="*/ 728368 h 739775"/>
              <a:gd name="T58" fmla="*/ 503500 w 739775"/>
              <a:gd name="T59" fmla="*/ 714769 h 739775"/>
              <a:gd name="T60" fmla="*/ 543692 w 739775"/>
              <a:gd name="T61" fmla="*/ 696332 h 739775"/>
              <a:gd name="T62" fmla="*/ 581125 w 739775"/>
              <a:gd name="T63" fmla="*/ 673402 h 739775"/>
              <a:gd name="T64" fmla="*/ 615452 w 739775"/>
              <a:gd name="T65" fmla="*/ 646327 h 739775"/>
              <a:gd name="T66" fmla="*/ 646327 w 739775"/>
              <a:gd name="T67" fmla="*/ 615452 h 739775"/>
              <a:gd name="T68" fmla="*/ 673402 w 739775"/>
              <a:gd name="T69" fmla="*/ 581125 h 739775"/>
              <a:gd name="T70" fmla="*/ 696332 w 739775"/>
              <a:gd name="T71" fmla="*/ 543692 h 739775"/>
              <a:gd name="T72" fmla="*/ 714769 w 739775"/>
              <a:gd name="T73" fmla="*/ 503500 h 739775"/>
              <a:gd name="T74" fmla="*/ 728368 w 739775"/>
              <a:gd name="T75" fmla="*/ 460894 h 739775"/>
              <a:gd name="T76" fmla="*/ 736781 w 739775"/>
              <a:gd name="T77" fmla="*/ 416223 h 739775"/>
              <a:gd name="T78" fmla="*/ 739663 w 739775"/>
              <a:gd name="T79" fmla="*/ 369831 h 739775"/>
              <a:gd name="T80" fmla="*/ 736781 w 739775"/>
              <a:gd name="T81" fmla="*/ 323442 h 739775"/>
              <a:gd name="T82" fmla="*/ 728368 w 739775"/>
              <a:gd name="T83" fmla="*/ 278771 h 739775"/>
              <a:gd name="T84" fmla="*/ 714769 w 739775"/>
              <a:gd name="T85" fmla="*/ 236167 h 739775"/>
              <a:gd name="T86" fmla="*/ 696332 w 739775"/>
              <a:gd name="T87" fmla="*/ 195975 h 739775"/>
              <a:gd name="T88" fmla="*/ 673402 w 739775"/>
              <a:gd name="T89" fmla="*/ 158542 h 739775"/>
              <a:gd name="T90" fmla="*/ 646327 w 739775"/>
              <a:gd name="T91" fmla="*/ 124214 h 739775"/>
              <a:gd name="T92" fmla="*/ 615452 w 739775"/>
              <a:gd name="T93" fmla="*/ 93339 h 739775"/>
              <a:gd name="T94" fmla="*/ 581125 w 739775"/>
              <a:gd name="T95" fmla="*/ 66263 h 739775"/>
              <a:gd name="T96" fmla="*/ 543692 w 739775"/>
              <a:gd name="T97" fmla="*/ 43333 h 739775"/>
              <a:gd name="T98" fmla="*/ 503500 w 739775"/>
              <a:gd name="T99" fmla="*/ 24894 h 739775"/>
              <a:gd name="T100" fmla="*/ 460894 w 739775"/>
              <a:gd name="T101" fmla="*/ 11295 h 739775"/>
              <a:gd name="T102" fmla="*/ 416223 w 739775"/>
              <a:gd name="T103" fmla="*/ 2881 h 739775"/>
              <a:gd name="T104" fmla="*/ 369831 w 739775"/>
              <a:gd name="T105" fmla="*/ 0 h 7397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739775" h="739775">
                <a:moveTo>
                  <a:pt x="369831" y="0"/>
                </a:moveTo>
                <a:lnTo>
                  <a:pt x="323440" y="2881"/>
                </a:lnTo>
                <a:lnTo>
                  <a:pt x="278768" y="11295"/>
                </a:lnTo>
                <a:lnTo>
                  <a:pt x="236163" y="24894"/>
                </a:lnTo>
                <a:lnTo>
                  <a:pt x="195970" y="43333"/>
                </a:lnTo>
                <a:lnTo>
                  <a:pt x="158537" y="66263"/>
                </a:lnTo>
                <a:lnTo>
                  <a:pt x="124210" y="93339"/>
                </a:lnTo>
                <a:lnTo>
                  <a:pt x="93335" y="124214"/>
                </a:lnTo>
                <a:lnTo>
                  <a:pt x="66260" y="158542"/>
                </a:lnTo>
                <a:lnTo>
                  <a:pt x="43330" y="195975"/>
                </a:lnTo>
                <a:lnTo>
                  <a:pt x="24893" y="236167"/>
                </a:lnTo>
                <a:lnTo>
                  <a:pt x="11294" y="278771"/>
                </a:lnTo>
                <a:lnTo>
                  <a:pt x="2881" y="323442"/>
                </a:lnTo>
                <a:lnTo>
                  <a:pt x="0" y="369831"/>
                </a:lnTo>
                <a:lnTo>
                  <a:pt x="2881" y="416223"/>
                </a:lnTo>
                <a:lnTo>
                  <a:pt x="11294" y="460894"/>
                </a:lnTo>
                <a:lnTo>
                  <a:pt x="24893" y="503500"/>
                </a:lnTo>
                <a:lnTo>
                  <a:pt x="43330" y="543692"/>
                </a:lnTo>
                <a:lnTo>
                  <a:pt x="66260" y="581125"/>
                </a:lnTo>
                <a:lnTo>
                  <a:pt x="93335" y="615452"/>
                </a:lnTo>
                <a:lnTo>
                  <a:pt x="124210" y="646327"/>
                </a:lnTo>
                <a:lnTo>
                  <a:pt x="158537" y="673402"/>
                </a:lnTo>
                <a:lnTo>
                  <a:pt x="195970" y="696332"/>
                </a:lnTo>
                <a:lnTo>
                  <a:pt x="236163" y="714769"/>
                </a:lnTo>
                <a:lnTo>
                  <a:pt x="278768" y="728368"/>
                </a:lnTo>
                <a:lnTo>
                  <a:pt x="323440" y="736781"/>
                </a:lnTo>
                <a:lnTo>
                  <a:pt x="369831" y="739663"/>
                </a:lnTo>
                <a:lnTo>
                  <a:pt x="416223" y="736781"/>
                </a:lnTo>
                <a:lnTo>
                  <a:pt x="460894" y="728368"/>
                </a:lnTo>
                <a:lnTo>
                  <a:pt x="503500" y="714769"/>
                </a:lnTo>
                <a:lnTo>
                  <a:pt x="543692" y="696332"/>
                </a:lnTo>
                <a:lnTo>
                  <a:pt x="581125" y="673402"/>
                </a:lnTo>
                <a:lnTo>
                  <a:pt x="615452" y="646327"/>
                </a:lnTo>
                <a:lnTo>
                  <a:pt x="646327" y="615452"/>
                </a:lnTo>
                <a:lnTo>
                  <a:pt x="673402" y="581125"/>
                </a:lnTo>
                <a:lnTo>
                  <a:pt x="696332" y="543692"/>
                </a:lnTo>
                <a:lnTo>
                  <a:pt x="714769" y="503500"/>
                </a:lnTo>
                <a:lnTo>
                  <a:pt x="728368" y="460894"/>
                </a:lnTo>
                <a:lnTo>
                  <a:pt x="736781" y="416223"/>
                </a:lnTo>
                <a:lnTo>
                  <a:pt x="739663" y="369831"/>
                </a:lnTo>
                <a:lnTo>
                  <a:pt x="736781" y="323442"/>
                </a:lnTo>
                <a:lnTo>
                  <a:pt x="728368" y="278771"/>
                </a:lnTo>
                <a:lnTo>
                  <a:pt x="714769" y="236167"/>
                </a:lnTo>
                <a:lnTo>
                  <a:pt x="696332" y="195975"/>
                </a:lnTo>
                <a:lnTo>
                  <a:pt x="673402" y="158542"/>
                </a:lnTo>
                <a:lnTo>
                  <a:pt x="646327" y="124214"/>
                </a:lnTo>
                <a:lnTo>
                  <a:pt x="615452" y="93339"/>
                </a:lnTo>
                <a:lnTo>
                  <a:pt x="581125" y="66263"/>
                </a:lnTo>
                <a:lnTo>
                  <a:pt x="543692" y="43333"/>
                </a:lnTo>
                <a:lnTo>
                  <a:pt x="503500" y="24894"/>
                </a:lnTo>
                <a:lnTo>
                  <a:pt x="460894" y="11295"/>
                </a:lnTo>
                <a:lnTo>
                  <a:pt x="416223" y="2881"/>
                </a:lnTo>
                <a:lnTo>
                  <a:pt x="369831" y="0"/>
                </a:lnTo>
                <a:close/>
              </a:path>
            </a:pathLst>
          </a:custGeom>
          <a:solidFill>
            <a:srgbClr val="E5E5E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en-AU"/>
          </a:p>
        </p:txBody>
      </p:sp>
      <p:sp>
        <p:nvSpPr>
          <p:cNvPr id="48" name="object 43">
            <a:extLst>
              <a:ext uri="{FF2B5EF4-FFF2-40B4-BE49-F238E27FC236}">
                <a16:creationId xmlns:a16="http://schemas.microsoft.com/office/drawing/2014/main" id="{D2AB739D-B8D6-B081-726D-73C24F7E9677}"/>
              </a:ext>
            </a:extLst>
          </p:cNvPr>
          <p:cNvSpPr txBox="1"/>
          <p:nvPr userDrawn="1"/>
        </p:nvSpPr>
        <p:spPr>
          <a:xfrm>
            <a:off x="14773275" y="6540500"/>
            <a:ext cx="795338" cy="176213"/>
          </a:xfrm>
          <a:prstGeom prst="rect">
            <a:avLst/>
          </a:prstGeom>
        </p:spPr>
        <p:txBody>
          <a:bodyPr lIns="0" tIns="15875" rIns="0" bIns="0">
            <a:spAutoFit/>
          </a:bodyPr>
          <a:lstStyle/>
          <a:p>
            <a:pPr marL="12700" algn="ctr" eaLnBrk="1" fontAlgn="auto" hangingPunct="1">
              <a:spcBef>
                <a:spcPts val="125"/>
              </a:spcBef>
              <a:spcAft>
                <a:spcPts val="0"/>
              </a:spcAft>
              <a:defRPr/>
            </a:pPr>
            <a:r>
              <a:rPr lang="it-IT" sz="1050" b="1" spc="195" dirty="0">
                <a:latin typeface="Helvetica Neue"/>
                <a:cs typeface="Helvetica Neue"/>
              </a:rPr>
              <a:t>CITRO</a:t>
            </a:r>
            <a:endParaRPr lang="it-IT" sz="1050" dirty="0">
              <a:latin typeface="Helvetica Neue"/>
              <a:cs typeface="Helvetica Neue"/>
            </a:endParaRPr>
          </a:p>
        </p:txBody>
      </p:sp>
      <p:sp>
        <p:nvSpPr>
          <p:cNvPr id="49" name="object 32">
            <a:extLst>
              <a:ext uri="{FF2B5EF4-FFF2-40B4-BE49-F238E27FC236}">
                <a16:creationId xmlns:a16="http://schemas.microsoft.com/office/drawing/2014/main" id="{18AB688D-4EF3-10A6-4827-277B816F5662}"/>
              </a:ext>
            </a:extLst>
          </p:cNvPr>
          <p:cNvSpPr>
            <a:spLocks/>
          </p:cNvSpPr>
          <p:nvPr userDrawn="1"/>
        </p:nvSpPr>
        <p:spPr bwMode="auto">
          <a:xfrm>
            <a:off x="13981113" y="6251575"/>
            <a:ext cx="739775" cy="739775"/>
          </a:xfrm>
          <a:custGeom>
            <a:avLst/>
            <a:gdLst>
              <a:gd name="T0" fmla="*/ 369831 w 739775"/>
              <a:gd name="T1" fmla="*/ 0 h 739775"/>
              <a:gd name="T2" fmla="*/ 323440 w 739775"/>
              <a:gd name="T3" fmla="*/ 2881 h 739775"/>
              <a:gd name="T4" fmla="*/ 278768 w 739775"/>
              <a:gd name="T5" fmla="*/ 11295 h 739775"/>
              <a:gd name="T6" fmla="*/ 236163 w 739775"/>
              <a:gd name="T7" fmla="*/ 24894 h 739775"/>
              <a:gd name="T8" fmla="*/ 195970 w 739775"/>
              <a:gd name="T9" fmla="*/ 43333 h 739775"/>
              <a:gd name="T10" fmla="*/ 158537 w 739775"/>
              <a:gd name="T11" fmla="*/ 66263 h 739775"/>
              <a:gd name="T12" fmla="*/ 124210 w 739775"/>
              <a:gd name="T13" fmla="*/ 93339 h 739775"/>
              <a:gd name="T14" fmla="*/ 93335 w 739775"/>
              <a:gd name="T15" fmla="*/ 124214 h 739775"/>
              <a:gd name="T16" fmla="*/ 66260 w 739775"/>
              <a:gd name="T17" fmla="*/ 158542 h 739775"/>
              <a:gd name="T18" fmla="*/ 43330 w 739775"/>
              <a:gd name="T19" fmla="*/ 195975 h 739775"/>
              <a:gd name="T20" fmla="*/ 24893 w 739775"/>
              <a:gd name="T21" fmla="*/ 236167 h 739775"/>
              <a:gd name="T22" fmla="*/ 11294 w 739775"/>
              <a:gd name="T23" fmla="*/ 278771 h 739775"/>
              <a:gd name="T24" fmla="*/ 2881 w 739775"/>
              <a:gd name="T25" fmla="*/ 323442 h 739775"/>
              <a:gd name="T26" fmla="*/ 0 w 739775"/>
              <a:gd name="T27" fmla="*/ 369831 h 739775"/>
              <a:gd name="T28" fmla="*/ 2881 w 739775"/>
              <a:gd name="T29" fmla="*/ 416223 h 739775"/>
              <a:gd name="T30" fmla="*/ 11294 w 739775"/>
              <a:gd name="T31" fmla="*/ 460894 h 739775"/>
              <a:gd name="T32" fmla="*/ 24893 w 739775"/>
              <a:gd name="T33" fmla="*/ 503500 h 739775"/>
              <a:gd name="T34" fmla="*/ 43330 w 739775"/>
              <a:gd name="T35" fmla="*/ 543692 h 739775"/>
              <a:gd name="T36" fmla="*/ 66260 w 739775"/>
              <a:gd name="T37" fmla="*/ 581125 h 739775"/>
              <a:gd name="T38" fmla="*/ 93335 w 739775"/>
              <a:gd name="T39" fmla="*/ 615452 h 739775"/>
              <a:gd name="T40" fmla="*/ 124210 w 739775"/>
              <a:gd name="T41" fmla="*/ 646327 h 739775"/>
              <a:gd name="T42" fmla="*/ 158537 w 739775"/>
              <a:gd name="T43" fmla="*/ 673402 h 739775"/>
              <a:gd name="T44" fmla="*/ 195970 w 739775"/>
              <a:gd name="T45" fmla="*/ 696332 h 739775"/>
              <a:gd name="T46" fmla="*/ 236163 w 739775"/>
              <a:gd name="T47" fmla="*/ 714769 h 739775"/>
              <a:gd name="T48" fmla="*/ 278768 w 739775"/>
              <a:gd name="T49" fmla="*/ 728368 h 739775"/>
              <a:gd name="T50" fmla="*/ 323440 w 739775"/>
              <a:gd name="T51" fmla="*/ 736781 h 739775"/>
              <a:gd name="T52" fmla="*/ 369831 w 739775"/>
              <a:gd name="T53" fmla="*/ 739663 h 739775"/>
              <a:gd name="T54" fmla="*/ 416223 w 739775"/>
              <a:gd name="T55" fmla="*/ 736781 h 739775"/>
              <a:gd name="T56" fmla="*/ 460894 w 739775"/>
              <a:gd name="T57" fmla="*/ 728368 h 739775"/>
              <a:gd name="T58" fmla="*/ 503500 w 739775"/>
              <a:gd name="T59" fmla="*/ 714769 h 739775"/>
              <a:gd name="T60" fmla="*/ 543692 w 739775"/>
              <a:gd name="T61" fmla="*/ 696332 h 739775"/>
              <a:gd name="T62" fmla="*/ 581125 w 739775"/>
              <a:gd name="T63" fmla="*/ 673402 h 739775"/>
              <a:gd name="T64" fmla="*/ 615452 w 739775"/>
              <a:gd name="T65" fmla="*/ 646327 h 739775"/>
              <a:gd name="T66" fmla="*/ 646327 w 739775"/>
              <a:gd name="T67" fmla="*/ 615452 h 739775"/>
              <a:gd name="T68" fmla="*/ 673402 w 739775"/>
              <a:gd name="T69" fmla="*/ 581125 h 739775"/>
              <a:gd name="T70" fmla="*/ 696332 w 739775"/>
              <a:gd name="T71" fmla="*/ 543692 h 739775"/>
              <a:gd name="T72" fmla="*/ 714769 w 739775"/>
              <a:gd name="T73" fmla="*/ 503500 h 739775"/>
              <a:gd name="T74" fmla="*/ 728368 w 739775"/>
              <a:gd name="T75" fmla="*/ 460894 h 739775"/>
              <a:gd name="T76" fmla="*/ 736781 w 739775"/>
              <a:gd name="T77" fmla="*/ 416223 h 739775"/>
              <a:gd name="T78" fmla="*/ 739663 w 739775"/>
              <a:gd name="T79" fmla="*/ 369831 h 739775"/>
              <a:gd name="T80" fmla="*/ 736781 w 739775"/>
              <a:gd name="T81" fmla="*/ 323442 h 739775"/>
              <a:gd name="T82" fmla="*/ 728368 w 739775"/>
              <a:gd name="T83" fmla="*/ 278771 h 739775"/>
              <a:gd name="T84" fmla="*/ 714769 w 739775"/>
              <a:gd name="T85" fmla="*/ 236167 h 739775"/>
              <a:gd name="T86" fmla="*/ 696332 w 739775"/>
              <a:gd name="T87" fmla="*/ 195975 h 739775"/>
              <a:gd name="T88" fmla="*/ 673402 w 739775"/>
              <a:gd name="T89" fmla="*/ 158542 h 739775"/>
              <a:gd name="T90" fmla="*/ 646327 w 739775"/>
              <a:gd name="T91" fmla="*/ 124214 h 739775"/>
              <a:gd name="T92" fmla="*/ 615452 w 739775"/>
              <a:gd name="T93" fmla="*/ 93339 h 739775"/>
              <a:gd name="T94" fmla="*/ 581125 w 739775"/>
              <a:gd name="T95" fmla="*/ 66263 h 739775"/>
              <a:gd name="T96" fmla="*/ 543692 w 739775"/>
              <a:gd name="T97" fmla="*/ 43333 h 739775"/>
              <a:gd name="T98" fmla="*/ 503500 w 739775"/>
              <a:gd name="T99" fmla="*/ 24894 h 739775"/>
              <a:gd name="T100" fmla="*/ 460894 w 739775"/>
              <a:gd name="T101" fmla="*/ 11295 h 739775"/>
              <a:gd name="T102" fmla="*/ 416223 w 739775"/>
              <a:gd name="T103" fmla="*/ 2881 h 739775"/>
              <a:gd name="T104" fmla="*/ 369831 w 739775"/>
              <a:gd name="T105" fmla="*/ 0 h 7397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739775" h="739775">
                <a:moveTo>
                  <a:pt x="369831" y="0"/>
                </a:moveTo>
                <a:lnTo>
                  <a:pt x="323440" y="2881"/>
                </a:lnTo>
                <a:lnTo>
                  <a:pt x="278768" y="11295"/>
                </a:lnTo>
                <a:lnTo>
                  <a:pt x="236163" y="24894"/>
                </a:lnTo>
                <a:lnTo>
                  <a:pt x="195970" y="43333"/>
                </a:lnTo>
                <a:lnTo>
                  <a:pt x="158537" y="66263"/>
                </a:lnTo>
                <a:lnTo>
                  <a:pt x="124210" y="93339"/>
                </a:lnTo>
                <a:lnTo>
                  <a:pt x="93335" y="124214"/>
                </a:lnTo>
                <a:lnTo>
                  <a:pt x="66260" y="158542"/>
                </a:lnTo>
                <a:lnTo>
                  <a:pt x="43330" y="195975"/>
                </a:lnTo>
                <a:lnTo>
                  <a:pt x="24893" y="236167"/>
                </a:lnTo>
                <a:lnTo>
                  <a:pt x="11294" y="278771"/>
                </a:lnTo>
                <a:lnTo>
                  <a:pt x="2881" y="323442"/>
                </a:lnTo>
                <a:lnTo>
                  <a:pt x="0" y="369831"/>
                </a:lnTo>
                <a:lnTo>
                  <a:pt x="2881" y="416223"/>
                </a:lnTo>
                <a:lnTo>
                  <a:pt x="11294" y="460894"/>
                </a:lnTo>
                <a:lnTo>
                  <a:pt x="24893" y="503500"/>
                </a:lnTo>
                <a:lnTo>
                  <a:pt x="43330" y="543692"/>
                </a:lnTo>
                <a:lnTo>
                  <a:pt x="66260" y="581125"/>
                </a:lnTo>
                <a:lnTo>
                  <a:pt x="93335" y="615452"/>
                </a:lnTo>
                <a:lnTo>
                  <a:pt x="124210" y="646327"/>
                </a:lnTo>
                <a:lnTo>
                  <a:pt x="158537" y="673402"/>
                </a:lnTo>
                <a:lnTo>
                  <a:pt x="195970" y="696332"/>
                </a:lnTo>
                <a:lnTo>
                  <a:pt x="236163" y="714769"/>
                </a:lnTo>
                <a:lnTo>
                  <a:pt x="278768" y="728368"/>
                </a:lnTo>
                <a:lnTo>
                  <a:pt x="323440" y="736781"/>
                </a:lnTo>
                <a:lnTo>
                  <a:pt x="369831" y="739663"/>
                </a:lnTo>
                <a:lnTo>
                  <a:pt x="416223" y="736781"/>
                </a:lnTo>
                <a:lnTo>
                  <a:pt x="460894" y="728368"/>
                </a:lnTo>
                <a:lnTo>
                  <a:pt x="503500" y="714769"/>
                </a:lnTo>
                <a:lnTo>
                  <a:pt x="543692" y="696332"/>
                </a:lnTo>
                <a:lnTo>
                  <a:pt x="581125" y="673402"/>
                </a:lnTo>
                <a:lnTo>
                  <a:pt x="615452" y="646327"/>
                </a:lnTo>
                <a:lnTo>
                  <a:pt x="646327" y="615452"/>
                </a:lnTo>
                <a:lnTo>
                  <a:pt x="673402" y="581125"/>
                </a:lnTo>
                <a:lnTo>
                  <a:pt x="696332" y="543692"/>
                </a:lnTo>
                <a:lnTo>
                  <a:pt x="714769" y="503500"/>
                </a:lnTo>
                <a:lnTo>
                  <a:pt x="728368" y="460894"/>
                </a:lnTo>
                <a:lnTo>
                  <a:pt x="736781" y="416223"/>
                </a:lnTo>
                <a:lnTo>
                  <a:pt x="739663" y="369831"/>
                </a:lnTo>
                <a:lnTo>
                  <a:pt x="736781" y="323442"/>
                </a:lnTo>
                <a:lnTo>
                  <a:pt x="728368" y="278771"/>
                </a:lnTo>
                <a:lnTo>
                  <a:pt x="714769" y="236167"/>
                </a:lnTo>
                <a:lnTo>
                  <a:pt x="696332" y="195975"/>
                </a:lnTo>
                <a:lnTo>
                  <a:pt x="673402" y="158542"/>
                </a:lnTo>
                <a:lnTo>
                  <a:pt x="646327" y="124214"/>
                </a:lnTo>
                <a:lnTo>
                  <a:pt x="615452" y="93339"/>
                </a:lnTo>
                <a:lnTo>
                  <a:pt x="581125" y="66263"/>
                </a:lnTo>
                <a:lnTo>
                  <a:pt x="543692" y="43333"/>
                </a:lnTo>
                <a:lnTo>
                  <a:pt x="503500" y="24894"/>
                </a:lnTo>
                <a:lnTo>
                  <a:pt x="460894" y="11295"/>
                </a:lnTo>
                <a:lnTo>
                  <a:pt x="416223" y="2881"/>
                </a:lnTo>
                <a:lnTo>
                  <a:pt x="369831" y="0"/>
                </a:lnTo>
                <a:close/>
              </a:path>
            </a:pathLst>
          </a:custGeom>
          <a:solidFill>
            <a:srgbClr val="E5E5E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en-AU"/>
          </a:p>
        </p:txBody>
      </p:sp>
      <p:sp>
        <p:nvSpPr>
          <p:cNvPr id="50" name="object 33">
            <a:extLst>
              <a:ext uri="{FF2B5EF4-FFF2-40B4-BE49-F238E27FC236}">
                <a16:creationId xmlns:a16="http://schemas.microsoft.com/office/drawing/2014/main" id="{00780AB2-959D-41A9-7ACD-3F2FBCD99863}"/>
              </a:ext>
            </a:extLst>
          </p:cNvPr>
          <p:cNvSpPr txBox="1"/>
          <p:nvPr userDrawn="1"/>
        </p:nvSpPr>
        <p:spPr>
          <a:xfrm>
            <a:off x="14073188" y="6540500"/>
            <a:ext cx="554037" cy="176213"/>
          </a:xfrm>
          <a:prstGeom prst="rect">
            <a:avLst/>
          </a:prstGeom>
        </p:spPr>
        <p:txBody>
          <a:bodyPr lIns="0" tIns="15875" rIns="0" bIns="0">
            <a:spAutoFit/>
          </a:bodyPr>
          <a:lstStyle/>
          <a:p>
            <a:pPr marL="12700" algn="ctr" eaLnBrk="1" fontAlgn="auto" hangingPunct="1">
              <a:spcBef>
                <a:spcPts val="125"/>
              </a:spcBef>
              <a:spcAft>
                <a:spcPts val="0"/>
              </a:spcAft>
              <a:defRPr/>
            </a:pPr>
            <a:r>
              <a:rPr lang="it-IT" sz="1050" b="1" spc="290" dirty="0">
                <a:latin typeface="Helvetica Neue"/>
                <a:cs typeface="Helvetica Neue"/>
              </a:rPr>
              <a:t>FIAT</a:t>
            </a:r>
            <a:endParaRPr lang="it-IT" sz="1050" dirty="0">
              <a:latin typeface="Helvetica Neue"/>
              <a:cs typeface="Helvetica Neue"/>
            </a:endParaRPr>
          </a:p>
        </p:txBody>
      </p:sp>
      <p:sp>
        <p:nvSpPr>
          <p:cNvPr id="25" name="Segnaposto testo 24"/>
          <p:cNvSpPr>
            <a:spLocks noGrp="1"/>
          </p:cNvSpPr>
          <p:nvPr>
            <p:ph type="body" sz="quarter" idx="12"/>
          </p:nvPr>
        </p:nvSpPr>
        <p:spPr>
          <a:xfrm>
            <a:off x="788186" y="2132907"/>
            <a:ext cx="3033410" cy="300782"/>
          </a:xfrm>
        </p:spPr>
        <p:txBody>
          <a:bodyPr/>
          <a:lstStyle>
            <a:lvl1pPr>
              <a:defRPr sz="1550" b="1" i="0" spc="300">
                <a:latin typeface="Helvetica" pitchFamily="2" charset="0"/>
              </a:defRPr>
            </a:lvl1pPr>
            <a:lvl2pPr>
              <a:defRPr sz="1550" b="1" i="0">
                <a:latin typeface="Helvetica" pitchFamily="2" charset="0"/>
              </a:defRPr>
            </a:lvl2pPr>
            <a:lvl3pPr>
              <a:defRPr sz="1550" b="1" i="0">
                <a:latin typeface="Helvetica" pitchFamily="2" charset="0"/>
              </a:defRPr>
            </a:lvl3pPr>
            <a:lvl4pPr>
              <a:defRPr sz="1550" b="1" i="0">
                <a:latin typeface="Helvetica" pitchFamily="2" charset="0"/>
              </a:defRPr>
            </a:lvl4pPr>
            <a:lvl5pPr>
              <a:defRPr sz="1550" b="1" i="0">
                <a:latin typeface="Helvetica" pitchFamily="2" charset="0"/>
              </a:defRPr>
            </a:lvl5pPr>
          </a:lstStyle>
          <a:p>
            <a:pPr lvl="0"/>
            <a:r>
              <a:rPr lang="sl-SI"/>
              <a:t>Kliknite za urejanje slogov besedila matrice</a:t>
            </a:r>
          </a:p>
        </p:txBody>
      </p:sp>
      <p:sp>
        <p:nvSpPr>
          <p:cNvPr id="84" name="Holder 4"/>
          <p:cNvSpPr>
            <a:spLocks noGrp="1"/>
          </p:cNvSpPr>
          <p:nvPr>
            <p:ph sz="half" idx="3"/>
          </p:nvPr>
        </p:nvSpPr>
        <p:spPr>
          <a:xfrm>
            <a:off x="813211" y="2735061"/>
            <a:ext cx="2922364" cy="1939763"/>
          </a:xfrm>
          <a:prstGeom prst="rect">
            <a:avLst/>
          </a:prstGeom>
          <a:solidFill>
            <a:srgbClr val="E5E5E5"/>
          </a:solidFill>
        </p:spPr>
        <p:txBody>
          <a:bodyPr/>
          <a:lstStyle>
            <a:lvl1pPr>
              <a:defRPr/>
            </a:lvl1pPr>
          </a:lstStyle>
          <a:p>
            <a:endParaRPr dirty="0"/>
          </a:p>
        </p:txBody>
      </p:sp>
      <p:sp>
        <p:nvSpPr>
          <p:cNvPr id="85" name="Holder 4"/>
          <p:cNvSpPr>
            <a:spLocks noGrp="1"/>
          </p:cNvSpPr>
          <p:nvPr>
            <p:ph sz="half" idx="13"/>
          </p:nvPr>
        </p:nvSpPr>
        <p:spPr>
          <a:xfrm>
            <a:off x="3932623" y="2735061"/>
            <a:ext cx="2922364" cy="1939763"/>
          </a:xfrm>
          <a:prstGeom prst="rect">
            <a:avLst/>
          </a:prstGeom>
          <a:solidFill>
            <a:srgbClr val="E5E5E5"/>
          </a:solidFill>
        </p:spPr>
        <p:txBody>
          <a:bodyPr/>
          <a:lstStyle>
            <a:lvl1pPr>
              <a:defRPr/>
            </a:lvl1pPr>
          </a:lstStyle>
          <a:p>
            <a:endParaRPr dirty="0"/>
          </a:p>
        </p:txBody>
      </p:sp>
      <p:sp>
        <p:nvSpPr>
          <p:cNvPr id="86" name="Holder 4"/>
          <p:cNvSpPr>
            <a:spLocks noGrp="1"/>
          </p:cNvSpPr>
          <p:nvPr>
            <p:ph sz="half" idx="14"/>
          </p:nvPr>
        </p:nvSpPr>
        <p:spPr>
          <a:xfrm>
            <a:off x="7052035" y="2735061"/>
            <a:ext cx="2922364" cy="1939763"/>
          </a:xfrm>
          <a:prstGeom prst="rect">
            <a:avLst/>
          </a:prstGeom>
          <a:solidFill>
            <a:srgbClr val="E5E5E5"/>
          </a:solidFill>
        </p:spPr>
        <p:txBody>
          <a:bodyPr/>
          <a:lstStyle>
            <a:lvl1pPr>
              <a:defRPr/>
            </a:lvl1pPr>
          </a:lstStyle>
          <a:p>
            <a:endParaRPr dirty="0"/>
          </a:p>
        </p:txBody>
      </p:sp>
      <p:sp>
        <p:nvSpPr>
          <p:cNvPr id="87" name="Holder 4"/>
          <p:cNvSpPr>
            <a:spLocks noGrp="1"/>
          </p:cNvSpPr>
          <p:nvPr>
            <p:ph sz="half" idx="15"/>
          </p:nvPr>
        </p:nvSpPr>
        <p:spPr>
          <a:xfrm>
            <a:off x="10171447" y="2735061"/>
            <a:ext cx="2922364" cy="1939763"/>
          </a:xfrm>
          <a:prstGeom prst="rect">
            <a:avLst/>
          </a:prstGeom>
          <a:solidFill>
            <a:srgbClr val="E5E5E5"/>
          </a:solidFill>
        </p:spPr>
        <p:txBody>
          <a:bodyPr/>
          <a:lstStyle>
            <a:lvl1pPr>
              <a:defRPr/>
            </a:lvl1pPr>
          </a:lstStyle>
          <a:p>
            <a:endParaRPr dirty="0"/>
          </a:p>
        </p:txBody>
      </p:sp>
      <p:sp>
        <p:nvSpPr>
          <p:cNvPr id="88" name="Holder 4"/>
          <p:cNvSpPr>
            <a:spLocks noGrp="1"/>
          </p:cNvSpPr>
          <p:nvPr>
            <p:ph sz="half" idx="16"/>
          </p:nvPr>
        </p:nvSpPr>
        <p:spPr>
          <a:xfrm>
            <a:off x="13290859" y="2735061"/>
            <a:ext cx="2922364" cy="1939763"/>
          </a:xfrm>
          <a:prstGeom prst="rect">
            <a:avLst/>
          </a:prstGeom>
          <a:solidFill>
            <a:srgbClr val="E5E5E5"/>
          </a:solidFill>
        </p:spPr>
        <p:txBody>
          <a:bodyPr/>
          <a:lstStyle>
            <a:lvl1pPr>
              <a:defRPr/>
            </a:lvl1pPr>
          </a:lstStyle>
          <a:p>
            <a:endParaRPr dirty="0"/>
          </a:p>
        </p:txBody>
      </p:sp>
      <p:sp>
        <p:nvSpPr>
          <p:cNvPr id="89" name="Holder 4"/>
          <p:cNvSpPr>
            <a:spLocks noGrp="1"/>
          </p:cNvSpPr>
          <p:nvPr>
            <p:ph sz="half" idx="17"/>
          </p:nvPr>
        </p:nvSpPr>
        <p:spPr>
          <a:xfrm>
            <a:off x="16410273" y="2735061"/>
            <a:ext cx="2922364" cy="1939763"/>
          </a:xfrm>
          <a:prstGeom prst="rect">
            <a:avLst/>
          </a:prstGeom>
          <a:solidFill>
            <a:srgbClr val="E5E5E5"/>
          </a:solidFill>
        </p:spPr>
        <p:txBody>
          <a:bodyPr/>
          <a:lstStyle>
            <a:lvl1pPr>
              <a:defRPr/>
            </a:lvl1pPr>
          </a:lstStyle>
          <a:p>
            <a:endParaRPr dirty="0"/>
          </a:p>
        </p:txBody>
      </p:sp>
      <p:sp>
        <p:nvSpPr>
          <p:cNvPr id="94" name="Segnaposto testo 93"/>
          <p:cNvSpPr>
            <a:spLocks noGrp="1"/>
          </p:cNvSpPr>
          <p:nvPr>
            <p:ph type="body" sz="quarter" idx="20"/>
          </p:nvPr>
        </p:nvSpPr>
        <p:spPr>
          <a:xfrm>
            <a:off x="788185" y="5365376"/>
            <a:ext cx="2973387" cy="469264"/>
          </a:xfrm>
          <a:solidFill>
            <a:srgbClr val="42444A"/>
          </a:solidFill>
        </p:spPr>
        <p:txBody>
          <a:bodyPr anchor="ctr"/>
          <a:lstStyle>
            <a:lvl1pPr algn="ctr">
              <a:defRPr sz="1700" spc="300">
                <a:solidFill>
                  <a:srgbClr val="CCCCCC"/>
                </a:solidFill>
              </a:defRPr>
            </a:lvl1pPr>
            <a:lvl2pPr>
              <a:defRPr>
                <a:solidFill>
                  <a:srgbClr val="CCCCCC"/>
                </a:solidFill>
              </a:defRPr>
            </a:lvl2pPr>
            <a:lvl3pPr>
              <a:defRPr>
                <a:solidFill>
                  <a:srgbClr val="CCCCCC"/>
                </a:solidFill>
              </a:defRPr>
            </a:lvl3pPr>
            <a:lvl4pPr>
              <a:defRPr>
                <a:solidFill>
                  <a:srgbClr val="CCCCCC"/>
                </a:solidFill>
              </a:defRPr>
            </a:lvl4pPr>
            <a:lvl5pPr>
              <a:defRPr>
                <a:solidFill>
                  <a:srgbClr val="CCCCCC"/>
                </a:solidFill>
              </a:defRPr>
            </a:lvl5pPr>
          </a:lstStyle>
          <a:p>
            <a:pPr lvl="0"/>
            <a:r>
              <a:rPr lang="sl-SI"/>
              <a:t>Kliknite za urejanje slogov besedila matrice</a:t>
            </a:r>
          </a:p>
        </p:txBody>
      </p:sp>
      <p:sp>
        <p:nvSpPr>
          <p:cNvPr id="95" name="Segnaposto testo 93"/>
          <p:cNvSpPr>
            <a:spLocks noGrp="1"/>
          </p:cNvSpPr>
          <p:nvPr>
            <p:ph type="body" sz="quarter" idx="21"/>
          </p:nvPr>
        </p:nvSpPr>
        <p:spPr>
          <a:xfrm>
            <a:off x="3881009" y="5365376"/>
            <a:ext cx="2973387" cy="470648"/>
          </a:xfrm>
          <a:solidFill>
            <a:srgbClr val="42444A"/>
          </a:solidFill>
        </p:spPr>
        <p:txBody>
          <a:bodyPr anchor="ctr"/>
          <a:lstStyle>
            <a:lvl1pPr algn="ctr">
              <a:defRPr sz="1700" b="0" i="0" spc="0">
                <a:solidFill>
                  <a:srgbClr val="CCCCCC"/>
                </a:solidFill>
                <a:latin typeface="Helvetica" pitchFamily="2" charset="0"/>
              </a:defRPr>
            </a:lvl1pPr>
            <a:lvl2pPr>
              <a:defRPr>
                <a:solidFill>
                  <a:srgbClr val="CCCCCC"/>
                </a:solidFill>
              </a:defRPr>
            </a:lvl2pPr>
            <a:lvl3pPr>
              <a:defRPr>
                <a:solidFill>
                  <a:srgbClr val="CCCCCC"/>
                </a:solidFill>
              </a:defRPr>
            </a:lvl3pPr>
            <a:lvl4pPr>
              <a:defRPr>
                <a:solidFill>
                  <a:srgbClr val="CCCCCC"/>
                </a:solidFill>
              </a:defRPr>
            </a:lvl4pPr>
            <a:lvl5pPr>
              <a:defRPr>
                <a:solidFill>
                  <a:srgbClr val="CCCCCC"/>
                </a:solidFill>
              </a:defRPr>
            </a:lvl5pPr>
          </a:lstStyle>
          <a:p>
            <a:pPr lvl="0"/>
            <a:r>
              <a:rPr lang="sl-SI"/>
              <a:t>Kliknite za urejanje slogov besedila matrice</a:t>
            </a:r>
          </a:p>
        </p:txBody>
      </p:sp>
      <p:sp>
        <p:nvSpPr>
          <p:cNvPr id="96" name="Segnaposto testo 93"/>
          <p:cNvSpPr>
            <a:spLocks noGrp="1"/>
          </p:cNvSpPr>
          <p:nvPr>
            <p:ph type="body" sz="quarter" idx="22"/>
          </p:nvPr>
        </p:nvSpPr>
        <p:spPr>
          <a:xfrm>
            <a:off x="7014174" y="5365376"/>
            <a:ext cx="2973387" cy="470647"/>
          </a:xfrm>
          <a:solidFill>
            <a:srgbClr val="42444A"/>
          </a:solidFill>
        </p:spPr>
        <p:txBody>
          <a:bodyPr anchor="ctr"/>
          <a:lstStyle>
            <a:lvl1pPr algn="ctr">
              <a:defRPr sz="1700" b="0" i="0" spc="0">
                <a:solidFill>
                  <a:srgbClr val="CCCCCC"/>
                </a:solidFill>
                <a:latin typeface="Helvetica" pitchFamily="2" charset="0"/>
              </a:defRPr>
            </a:lvl1pPr>
            <a:lvl2pPr>
              <a:defRPr>
                <a:solidFill>
                  <a:srgbClr val="CCCCCC"/>
                </a:solidFill>
              </a:defRPr>
            </a:lvl2pPr>
            <a:lvl3pPr>
              <a:defRPr>
                <a:solidFill>
                  <a:srgbClr val="CCCCCC"/>
                </a:solidFill>
              </a:defRPr>
            </a:lvl3pPr>
            <a:lvl4pPr>
              <a:defRPr>
                <a:solidFill>
                  <a:srgbClr val="CCCCCC"/>
                </a:solidFill>
              </a:defRPr>
            </a:lvl4pPr>
            <a:lvl5pPr>
              <a:defRPr>
                <a:solidFill>
                  <a:srgbClr val="CCCCCC"/>
                </a:solidFill>
              </a:defRPr>
            </a:lvl5pPr>
          </a:lstStyle>
          <a:p>
            <a:pPr lvl="0"/>
            <a:r>
              <a:rPr lang="sl-SI"/>
              <a:t>Kliknite za urejanje slogov besedila matrice</a:t>
            </a:r>
          </a:p>
        </p:txBody>
      </p:sp>
      <p:sp>
        <p:nvSpPr>
          <p:cNvPr id="97" name="Segnaposto testo 93"/>
          <p:cNvSpPr>
            <a:spLocks noGrp="1"/>
          </p:cNvSpPr>
          <p:nvPr>
            <p:ph type="body" sz="quarter" idx="23"/>
          </p:nvPr>
        </p:nvSpPr>
        <p:spPr>
          <a:xfrm>
            <a:off x="10174232" y="5365376"/>
            <a:ext cx="2973387" cy="470647"/>
          </a:xfrm>
          <a:solidFill>
            <a:srgbClr val="42444A"/>
          </a:solidFill>
        </p:spPr>
        <p:txBody>
          <a:bodyPr anchor="ctr"/>
          <a:lstStyle>
            <a:lvl1pPr algn="ctr">
              <a:defRPr sz="1700" b="0" i="0" spc="0">
                <a:solidFill>
                  <a:srgbClr val="CCCCCC"/>
                </a:solidFill>
                <a:latin typeface="Helvetica" pitchFamily="2" charset="0"/>
              </a:defRPr>
            </a:lvl1pPr>
            <a:lvl2pPr>
              <a:defRPr>
                <a:solidFill>
                  <a:srgbClr val="CCCCCC"/>
                </a:solidFill>
              </a:defRPr>
            </a:lvl2pPr>
            <a:lvl3pPr>
              <a:defRPr>
                <a:solidFill>
                  <a:srgbClr val="CCCCCC"/>
                </a:solidFill>
              </a:defRPr>
            </a:lvl3pPr>
            <a:lvl4pPr>
              <a:defRPr>
                <a:solidFill>
                  <a:srgbClr val="CCCCCC"/>
                </a:solidFill>
              </a:defRPr>
            </a:lvl4pPr>
            <a:lvl5pPr>
              <a:defRPr>
                <a:solidFill>
                  <a:srgbClr val="CCCCCC"/>
                </a:solidFill>
              </a:defRPr>
            </a:lvl5pPr>
          </a:lstStyle>
          <a:p>
            <a:pPr lvl="0"/>
            <a:r>
              <a:rPr lang="sl-SI"/>
              <a:t>Kliknite za urejanje slogov besedila matrice</a:t>
            </a:r>
          </a:p>
        </p:txBody>
      </p:sp>
      <p:sp>
        <p:nvSpPr>
          <p:cNvPr id="98" name="Segnaposto testo 93"/>
          <p:cNvSpPr>
            <a:spLocks noGrp="1"/>
          </p:cNvSpPr>
          <p:nvPr>
            <p:ph type="body" sz="quarter" idx="24"/>
          </p:nvPr>
        </p:nvSpPr>
        <p:spPr>
          <a:xfrm>
            <a:off x="13253609" y="5365376"/>
            <a:ext cx="2973387" cy="470647"/>
          </a:xfrm>
          <a:solidFill>
            <a:srgbClr val="42444A"/>
          </a:solidFill>
        </p:spPr>
        <p:txBody>
          <a:bodyPr anchor="ctr"/>
          <a:lstStyle>
            <a:lvl1pPr algn="ctr">
              <a:defRPr sz="1700" b="0" i="0" spc="0">
                <a:solidFill>
                  <a:srgbClr val="CCCCCC"/>
                </a:solidFill>
                <a:latin typeface="Helvetica" pitchFamily="2" charset="0"/>
              </a:defRPr>
            </a:lvl1pPr>
            <a:lvl2pPr>
              <a:defRPr>
                <a:solidFill>
                  <a:srgbClr val="CCCCCC"/>
                </a:solidFill>
              </a:defRPr>
            </a:lvl2pPr>
            <a:lvl3pPr>
              <a:defRPr>
                <a:solidFill>
                  <a:srgbClr val="CCCCCC"/>
                </a:solidFill>
              </a:defRPr>
            </a:lvl3pPr>
            <a:lvl4pPr>
              <a:defRPr>
                <a:solidFill>
                  <a:srgbClr val="CCCCCC"/>
                </a:solidFill>
              </a:defRPr>
            </a:lvl4pPr>
            <a:lvl5pPr>
              <a:defRPr>
                <a:solidFill>
                  <a:srgbClr val="CCCCCC"/>
                </a:solidFill>
              </a:defRPr>
            </a:lvl5pPr>
          </a:lstStyle>
          <a:p>
            <a:pPr lvl="0"/>
            <a:r>
              <a:rPr lang="sl-SI"/>
              <a:t>Kliknite za urejanje slogov besedila matrice</a:t>
            </a:r>
          </a:p>
        </p:txBody>
      </p:sp>
      <p:sp>
        <p:nvSpPr>
          <p:cNvPr id="99" name="Segnaposto testo 93"/>
          <p:cNvSpPr>
            <a:spLocks noGrp="1"/>
          </p:cNvSpPr>
          <p:nvPr>
            <p:ph type="body" sz="quarter" idx="25"/>
          </p:nvPr>
        </p:nvSpPr>
        <p:spPr>
          <a:xfrm>
            <a:off x="16346433" y="5365376"/>
            <a:ext cx="2973387" cy="470647"/>
          </a:xfrm>
          <a:solidFill>
            <a:srgbClr val="42444A"/>
          </a:solidFill>
        </p:spPr>
        <p:txBody>
          <a:bodyPr anchor="ctr"/>
          <a:lstStyle>
            <a:lvl1pPr algn="ctr">
              <a:defRPr sz="1700" b="0" i="0" spc="0">
                <a:solidFill>
                  <a:srgbClr val="CCCCCC"/>
                </a:solidFill>
                <a:latin typeface="Helvetica" pitchFamily="2" charset="0"/>
              </a:defRPr>
            </a:lvl1pPr>
            <a:lvl2pPr>
              <a:defRPr>
                <a:solidFill>
                  <a:srgbClr val="CCCCCC"/>
                </a:solidFill>
              </a:defRPr>
            </a:lvl2pPr>
            <a:lvl3pPr>
              <a:defRPr>
                <a:solidFill>
                  <a:srgbClr val="CCCCCC"/>
                </a:solidFill>
              </a:defRPr>
            </a:lvl3pPr>
            <a:lvl4pPr>
              <a:defRPr>
                <a:solidFill>
                  <a:srgbClr val="CCCCCC"/>
                </a:solidFill>
              </a:defRPr>
            </a:lvl4pPr>
            <a:lvl5pPr>
              <a:defRPr>
                <a:solidFill>
                  <a:srgbClr val="CCCCCC"/>
                </a:solidFill>
              </a:defRPr>
            </a:lvl5pPr>
          </a:lstStyle>
          <a:p>
            <a:pPr lvl="0"/>
            <a:r>
              <a:rPr lang="sl-SI"/>
              <a:t>Kliknite za urejanje slogov besedila matrice</a:t>
            </a:r>
          </a:p>
        </p:txBody>
      </p:sp>
      <p:sp>
        <p:nvSpPr>
          <p:cNvPr id="115" name="Segnaposto testo 24"/>
          <p:cNvSpPr>
            <a:spLocks noGrp="1"/>
          </p:cNvSpPr>
          <p:nvPr>
            <p:ph type="body" sz="quarter" idx="26"/>
          </p:nvPr>
        </p:nvSpPr>
        <p:spPr>
          <a:xfrm>
            <a:off x="3894457" y="2132907"/>
            <a:ext cx="3033410" cy="238527"/>
          </a:xfrm>
        </p:spPr>
        <p:txBody>
          <a:bodyPr/>
          <a:lstStyle>
            <a:lvl1pPr>
              <a:defRPr sz="1550" b="1" i="0" spc="300">
                <a:latin typeface="Helvetica" pitchFamily="2" charset="0"/>
              </a:defRPr>
            </a:lvl1pPr>
            <a:lvl2pPr>
              <a:defRPr sz="1550" b="1" i="0">
                <a:latin typeface="Helvetica" pitchFamily="2" charset="0"/>
              </a:defRPr>
            </a:lvl2pPr>
            <a:lvl3pPr>
              <a:defRPr sz="1550" b="1" i="0">
                <a:latin typeface="Helvetica" pitchFamily="2" charset="0"/>
              </a:defRPr>
            </a:lvl3pPr>
            <a:lvl4pPr>
              <a:defRPr sz="1550" b="1" i="0">
                <a:latin typeface="Helvetica" pitchFamily="2" charset="0"/>
              </a:defRPr>
            </a:lvl4pPr>
            <a:lvl5pPr>
              <a:defRPr sz="1550" b="1" i="0">
                <a:latin typeface="Helvetica" pitchFamily="2" charset="0"/>
              </a:defRPr>
            </a:lvl5pPr>
          </a:lstStyle>
          <a:p>
            <a:pPr lvl="0"/>
            <a:r>
              <a:rPr lang="sl-SI"/>
              <a:t>Kliknite za urejanje slogov besedila matrice</a:t>
            </a:r>
          </a:p>
        </p:txBody>
      </p:sp>
      <p:sp>
        <p:nvSpPr>
          <p:cNvPr id="116" name="Segnaposto testo 24"/>
          <p:cNvSpPr>
            <a:spLocks noGrp="1"/>
          </p:cNvSpPr>
          <p:nvPr>
            <p:ph type="body" sz="quarter" idx="27"/>
          </p:nvPr>
        </p:nvSpPr>
        <p:spPr>
          <a:xfrm>
            <a:off x="7000728" y="2132907"/>
            <a:ext cx="3033410" cy="238527"/>
          </a:xfrm>
        </p:spPr>
        <p:txBody>
          <a:bodyPr/>
          <a:lstStyle>
            <a:lvl1pPr>
              <a:defRPr sz="1550" b="1" i="0" spc="300">
                <a:latin typeface="Helvetica" pitchFamily="2" charset="0"/>
              </a:defRPr>
            </a:lvl1pPr>
            <a:lvl2pPr>
              <a:defRPr sz="1550" b="1" i="0">
                <a:latin typeface="Helvetica" pitchFamily="2" charset="0"/>
              </a:defRPr>
            </a:lvl2pPr>
            <a:lvl3pPr>
              <a:defRPr sz="1550" b="1" i="0">
                <a:latin typeface="Helvetica" pitchFamily="2" charset="0"/>
              </a:defRPr>
            </a:lvl3pPr>
            <a:lvl4pPr>
              <a:defRPr sz="1550" b="1" i="0">
                <a:latin typeface="Helvetica" pitchFamily="2" charset="0"/>
              </a:defRPr>
            </a:lvl4pPr>
            <a:lvl5pPr>
              <a:defRPr sz="1550" b="1" i="0">
                <a:latin typeface="Helvetica" pitchFamily="2" charset="0"/>
              </a:defRPr>
            </a:lvl5pPr>
          </a:lstStyle>
          <a:p>
            <a:pPr lvl="0"/>
            <a:r>
              <a:rPr lang="sl-SI"/>
              <a:t>Kliknite za urejanje slogov besedila matrice</a:t>
            </a:r>
          </a:p>
        </p:txBody>
      </p:sp>
      <p:sp>
        <p:nvSpPr>
          <p:cNvPr id="117" name="Segnaposto testo 24"/>
          <p:cNvSpPr>
            <a:spLocks noGrp="1"/>
          </p:cNvSpPr>
          <p:nvPr>
            <p:ph type="body" sz="quarter" idx="28"/>
          </p:nvPr>
        </p:nvSpPr>
        <p:spPr>
          <a:xfrm>
            <a:off x="10106999" y="2132907"/>
            <a:ext cx="3033410" cy="238527"/>
          </a:xfrm>
        </p:spPr>
        <p:txBody>
          <a:bodyPr/>
          <a:lstStyle>
            <a:lvl1pPr>
              <a:defRPr sz="1550" b="1" i="0" spc="300">
                <a:latin typeface="Helvetica" pitchFamily="2" charset="0"/>
              </a:defRPr>
            </a:lvl1pPr>
            <a:lvl2pPr>
              <a:defRPr sz="1550" b="1" i="0">
                <a:latin typeface="Helvetica" pitchFamily="2" charset="0"/>
              </a:defRPr>
            </a:lvl2pPr>
            <a:lvl3pPr>
              <a:defRPr sz="1550" b="1" i="0">
                <a:latin typeface="Helvetica" pitchFamily="2" charset="0"/>
              </a:defRPr>
            </a:lvl3pPr>
            <a:lvl4pPr>
              <a:defRPr sz="1550" b="1" i="0">
                <a:latin typeface="Helvetica" pitchFamily="2" charset="0"/>
              </a:defRPr>
            </a:lvl4pPr>
            <a:lvl5pPr>
              <a:defRPr sz="1550" b="1" i="0">
                <a:latin typeface="Helvetica" pitchFamily="2" charset="0"/>
              </a:defRPr>
            </a:lvl5pPr>
          </a:lstStyle>
          <a:p>
            <a:pPr lvl="0"/>
            <a:r>
              <a:rPr lang="sl-SI"/>
              <a:t>Kliknite za urejanje slogov besedila matrice</a:t>
            </a:r>
          </a:p>
        </p:txBody>
      </p:sp>
      <p:sp>
        <p:nvSpPr>
          <p:cNvPr id="118" name="Segnaposto testo 24"/>
          <p:cNvSpPr>
            <a:spLocks noGrp="1"/>
          </p:cNvSpPr>
          <p:nvPr>
            <p:ph type="body" sz="quarter" idx="29"/>
          </p:nvPr>
        </p:nvSpPr>
        <p:spPr>
          <a:xfrm>
            <a:off x="13213270" y="2132907"/>
            <a:ext cx="3033410" cy="238527"/>
          </a:xfrm>
        </p:spPr>
        <p:txBody>
          <a:bodyPr/>
          <a:lstStyle>
            <a:lvl1pPr>
              <a:defRPr sz="1550" b="1" i="0" spc="300">
                <a:latin typeface="Helvetica" pitchFamily="2" charset="0"/>
              </a:defRPr>
            </a:lvl1pPr>
            <a:lvl2pPr>
              <a:defRPr sz="1550" b="1" i="0">
                <a:latin typeface="Helvetica" pitchFamily="2" charset="0"/>
              </a:defRPr>
            </a:lvl2pPr>
            <a:lvl3pPr>
              <a:defRPr sz="1550" b="1" i="0">
                <a:latin typeface="Helvetica" pitchFamily="2" charset="0"/>
              </a:defRPr>
            </a:lvl3pPr>
            <a:lvl4pPr>
              <a:defRPr sz="1550" b="1" i="0">
                <a:latin typeface="Helvetica" pitchFamily="2" charset="0"/>
              </a:defRPr>
            </a:lvl4pPr>
            <a:lvl5pPr>
              <a:defRPr sz="1550" b="1" i="0">
                <a:latin typeface="Helvetica" pitchFamily="2" charset="0"/>
              </a:defRPr>
            </a:lvl5pPr>
          </a:lstStyle>
          <a:p>
            <a:pPr lvl="0"/>
            <a:r>
              <a:rPr lang="sl-SI"/>
              <a:t>Kliknite za urejanje slogov besedila matrice</a:t>
            </a:r>
          </a:p>
        </p:txBody>
      </p:sp>
      <p:sp>
        <p:nvSpPr>
          <p:cNvPr id="119" name="Segnaposto testo 24"/>
          <p:cNvSpPr>
            <a:spLocks noGrp="1"/>
          </p:cNvSpPr>
          <p:nvPr>
            <p:ph type="body" sz="quarter" idx="30"/>
          </p:nvPr>
        </p:nvSpPr>
        <p:spPr>
          <a:xfrm>
            <a:off x="16319540" y="2132907"/>
            <a:ext cx="3033410" cy="238527"/>
          </a:xfrm>
        </p:spPr>
        <p:txBody>
          <a:bodyPr/>
          <a:lstStyle>
            <a:lvl1pPr>
              <a:defRPr sz="1550" b="1" i="0" spc="300">
                <a:latin typeface="Helvetica" pitchFamily="2" charset="0"/>
              </a:defRPr>
            </a:lvl1pPr>
            <a:lvl2pPr>
              <a:defRPr sz="1550" b="1" i="0">
                <a:latin typeface="Helvetica" pitchFamily="2" charset="0"/>
              </a:defRPr>
            </a:lvl2pPr>
            <a:lvl3pPr>
              <a:defRPr sz="1550" b="1" i="0">
                <a:latin typeface="Helvetica" pitchFamily="2" charset="0"/>
              </a:defRPr>
            </a:lvl3pPr>
            <a:lvl4pPr>
              <a:defRPr sz="1550" b="1" i="0">
                <a:latin typeface="Helvetica" pitchFamily="2" charset="0"/>
              </a:defRPr>
            </a:lvl4pPr>
            <a:lvl5pPr>
              <a:defRPr sz="1550" b="1" i="0">
                <a:latin typeface="Helvetica" pitchFamily="2" charset="0"/>
              </a:defRPr>
            </a:lvl5pPr>
          </a:lstStyle>
          <a:p>
            <a:pPr lvl="0"/>
            <a:r>
              <a:rPr lang="sl-SI"/>
              <a:t>Kliknite za urejanje slogov besedila matrice</a:t>
            </a:r>
          </a:p>
        </p:txBody>
      </p:sp>
      <p:sp>
        <p:nvSpPr>
          <p:cNvPr id="120" name="Segnaposto testo 24"/>
          <p:cNvSpPr>
            <a:spLocks noGrp="1"/>
          </p:cNvSpPr>
          <p:nvPr>
            <p:ph type="body" sz="quarter" idx="31"/>
          </p:nvPr>
        </p:nvSpPr>
        <p:spPr>
          <a:xfrm>
            <a:off x="788186" y="8399235"/>
            <a:ext cx="2786804" cy="238527"/>
          </a:xfrm>
        </p:spPr>
        <p:txBody>
          <a:bodyPr/>
          <a:lstStyle>
            <a:lvl1pPr>
              <a:defRPr sz="1550" b="0" i="0" spc="0">
                <a:latin typeface="Helvetica" pitchFamily="2" charset="0"/>
              </a:defRPr>
            </a:lvl1pPr>
            <a:lvl2pPr>
              <a:defRPr sz="1550" b="1" i="0">
                <a:latin typeface="Helvetica" pitchFamily="2" charset="0"/>
              </a:defRPr>
            </a:lvl2pPr>
            <a:lvl3pPr>
              <a:defRPr sz="1550" b="1" i="0">
                <a:latin typeface="Helvetica" pitchFamily="2" charset="0"/>
              </a:defRPr>
            </a:lvl3pPr>
            <a:lvl4pPr>
              <a:defRPr sz="1550" b="1" i="0">
                <a:latin typeface="Helvetica" pitchFamily="2" charset="0"/>
              </a:defRPr>
            </a:lvl4pPr>
            <a:lvl5pPr>
              <a:defRPr sz="1550" b="1" i="0">
                <a:latin typeface="Helvetica" pitchFamily="2" charset="0"/>
              </a:defRPr>
            </a:lvl5pPr>
          </a:lstStyle>
          <a:p>
            <a:pPr lvl="0"/>
            <a:endParaRPr lang="it-IT" dirty="0"/>
          </a:p>
        </p:txBody>
      </p:sp>
      <p:sp>
        <p:nvSpPr>
          <p:cNvPr id="121" name="Segnaposto testo 24"/>
          <p:cNvSpPr>
            <a:spLocks noGrp="1"/>
          </p:cNvSpPr>
          <p:nvPr>
            <p:ph type="body" sz="quarter" idx="32"/>
          </p:nvPr>
        </p:nvSpPr>
        <p:spPr>
          <a:xfrm>
            <a:off x="3932718" y="8399235"/>
            <a:ext cx="2786804" cy="238527"/>
          </a:xfrm>
        </p:spPr>
        <p:txBody>
          <a:bodyPr/>
          <a:lstStyle>
            <a:lvl1pPr>
              <a:defRPr sz="1550" b="0" i="0" spc="0">
                <a:latin typeface="Helvetica" pitchFamily="2" charset="0"/>
              </a:defRPr>
            </a:lvl1pPr>
            <a:lvl2pPr>
              <a:defRPr sz="1550" b="1" i="0">
                <a:latin typeface="Helvetica" pitchFamily="2" charset="0"/>
              </a:defRPr>
            </a:lvl2pPr>
            <a:lvl3pPr>
              <a:defRPr sz="1550" b="1" i="0">
                <a:latin typeface="Helvetica" pitchFamily="2" charset="0"/>
              </a:defRPr>
            </a:lvl3pPr>
            <a:lvl4pPr>
              <a:defRPr sz="1550" b="1" i="0">
                <a:latin typeface="Helvetica" pitchFamily="2" charset="0"/>
              </a:defRPr>
            </a:lvl4pPr>
            <a:lvl5pPr>
              <a:defRPr sz="1550" b="1" i="0">
                <a:latin typeface="Helvetica" pitchFamily="2" charset="0"/>
              </a:defRPr>
            </a:lvl5pPr>
          </a:lstStyle>
          <a:p>
            <a:pPr lvl="0"/>
            <a:endParaRPr lang="it-IT" dirty="0"/>
          </a:p>
        </p:txBody>
      </p:sp>
      <p:sp>
        <p:nvSpPr>
          <p:cNvPr id="122" name="Segnaposto testo 24"/>
          <p:cNvSpPr>
            <a:spLocks noGrp="1"/>
          </p:cNvSpPr>
          <p:nvPr>
            <p:ph type="body" sz="quarter" idx="33"/>
          </p:nvPr>
        </p:nvSpPr>
        <p:spPr>
          <a:xfrm>
            <a:off x="7077250" y="8399235"/>
            <a:ext cx="2786804" cy="238527"/>
          </a:xfrm>
        </p:spPr>
        <p:txBody>
          <a:bodyPr/>
          <a:lstStyle>
            <a:lvl1pPr>
              <a:defRPr sz="1550" b="0" i="0" spc="0">
                <a:latin typeface="Helvetica" pitchFamily="2" charset="0"/>
              </a:defRPr>
            </a:lvl1pPr>
            <a:lvl2pPr>
              <a:defRPr sz="1550" b="1" i="0">
                <a:latin typeface="Helvetica" pitchFamily="2" charset="0"/>
              </a:defRPr>
            </a:lvl2pPr>
            <a:lvl3pPr>
              <a:defRPr sz="1550" b="1" i="0">
                <a:latin typeface="Helvetica" pitchFamily="2" charset="0"/>
              </a:defRPr>
            </a:lvl3pPr>
            <a:lvl4pPr>
              <a:defRPr sz="1550" b="1" i="0">
                <a:latin typeface="Helvetica" pitchFamily="2" charset="0"/>
              </a:defRPr>
            </a:lvl4pPr>
            <a:lvl5pPr>
              <a:defRPr sz="1550" b="1" i="0">
                <a:latin typeface="Helvetica" pitchFamily="2" charset="0"/>
              </a:defRPr>
            </a:lvl5pPr>
          </a:lstStyle>
          <a:p>
            <a:pPr lvl="0"/>
            <a:endParaRPr lang="it-IT" dirty="0"/>
          </a:p>
        </p:txBody>
      </p:sp>
      <p:sp>
        <p:nvSpPr>
          <p:cNvPr id="123" name="Segnaposto testo 24"/>
          <p:cNvSpPr>
            <a:spLocks noGrp="1"/>
          </p:cNvSpPr>
          <p:nvPr>
            <p:ph type="body" sz="quarter" idx="34"/>
          </p:nvPr>
        </p:nvSpPr>
        <p:spPr>
          <a:xfrm>
            <a:off x="10221782" y="8399235"/>
            <a:ext cx="2786804" cy="238527"/>
          </a:xfrm>
        </p:spPr>
        <p:txBody>
          <a:bodyPr/>
          <a:lstStyle>
            <a:lvl1pPr>
              <a:defRPr sz="1550" b="0" i="0" spc="0">
                <a:latin typeface="Helvetica" pitchFamily="2" charset="0"/>
              </a:defRPr>
            </a:lvl1pPr>
            <a:lvl2pPr>
              <a:defRPr sz="1550" b="1" i="0">
                <a:latin typeface="Helvetica" pitchFamily="2" charset="0"/>
              </a:defRPr>
            </a:lvl2pPr>
            <a:lvl3pPr>
              <a:defRPr sz="1550" b="1" i="0">
                <a:latin typeface="Helvetica" pitchFamily="2" charset="0"/>
              </a:defRPr>
            </a:lvl3pPr>
            <a:lvl4pPr>
              <a:defRPr sz="1550" b="1" i="0">
                <a:latin typeface="Helvetica" pitchFamily="2" charset="0"/>
              </a:defRPr>
            </a:lvl4pPr>
            <a:lvl5pPr>
              <a:defRPr sz="1550" b="1" i="0">
                <a:latin typeface="Helvetica" pitchFamily="2" charset="0"/>
              </a:defRPr>
            </a:lvl5pPr>
          </a:lstStyle>
          <a:p>
            <a:pPr lvl="0"/>
            <a:endParaRPr lang="it-IT" dirty="0"/>
          </a:p>
        </p:txBody>
      </p:sp>
      <p:sp>
        <p:nvSpPr>
          <p:cNvPr id="124" name="Segnaposto testo 24"/>
          <p:cNvSpPr>
            <a:spLocks noGrp="1"/>
          </p:cNvSpPr>
          <p:nvPr>
            <p:ph type="body" sz="quarter" idx="35"/>
          </p:nvPr>
        </p:nvSpPr>
        <p:spPr>
          <a:xfrm>
            <a:off x="13366314" y="8399235"/>
            <a:ext cx="2786804" cy="238527"/>
          </a:xfrm>
        </p:spPr>
        <p:txBody>
          <a:bodyPr/>
          <a:lstStyle>
            <a:lvl1pPr>
              <a:defRPr sz="1550" b="0" i="0" spc="0">
                <a:latin typeface="Helvetica" pitchFamily="2" charset="0"/>
              </a:defRPr>
            </a:lvl1pPr>
            <a:lvl2pPr>
              <a:defRPr sz="1550" b="1" i="0">
                <a:latin typeface="Helvetica" pitchFamily="2" charset="0"/>
              </a:defRPr>
            </a:lvl2pPr>
            <a:lvl3pPr>
              <a:defRPr sz="1550" b="1" i="0">
                <a:latin typeface="Helvetica" pitchFamily="2" charset="0"/>
              </a:defRPr>
            </a:lvl3pPr>
            <a:lvl4pPr>
              <a:defRPr sz="1550" b="1" i="0">
                <a:latin typeface="Helvetica" pitchFamily="2" charset="0"/>
              </a:defRPr>
            </a:lvl4pPr>
            <a:lvl5pPr>
              <a:defRPr sz="1550" b="1" i="0">
                <a:latin typeface="Helvetica" pitchFamily="2" charset="0"/>
              </a:defRPr>
            </a:lvl5pPr>
          </a:lstStyle>
          <a:p>
            <a:pPr lvl="0"/>
            <a:endParaRPr lang="it-IT" dirty="0"/>
          </a:p>
        </p:txBody>
      </p:sp>
      <p:sp>
        <p:nvSpPr>
          <p:cNvPr id="125" name="Segnaposto testo 24"/>
          <p:cNvSpPr>
            <a:spLocks noGrp="1"/>
          </p:cNvSpPr>
          <p:nvPr>
            <p:ph type="body" sz="quarter" idx="36"/>
          </p:nvPr>
        </p:nvSpPr>
        <p:spPr>
          <a:xfrm>
            <a:off x="16510846" y="8399235"/>
            <a:ext cx="2786804" cy="238527"/>
          </a:xfrm>
        </p:spPr>
        <p:txBody>
          <a:bodyPr/>
          <a:lstStyle>
            <a:lvl1pPr>
              <a:defRPr sz="1550" b="0" i="0" spc="0">
                <a:latin typeface="Helvetica" pitchFamily="2" charset="0"/>
              </a:defRPr>
            </a:lvl1pPr>
            <a:lvl2pPr>
              <a:defRPr sz="1550" b="1" i="0">
                <a:latin typeface="Helvetica" pitchFamily="2" charset="0"/>
              </a:defRPr>
            </a:lvl2pPr>
            <a:lvl3pPr>
              <a:defRPr sz="1550" b="1" i="0">
                <a:latin typeface="Helvetica" pitchFamily="2" charset="0"/>
              </a:defRPr>
            </a:lvl3pPr>
            <a:lvl4pPr>
              <a:defRPr sz="1550" b="1" i="0">
                <a:latin typeface="Helvetica" pitchFamily="2" charset="0"/>
              </a:defRPr>
            </a:lvl4pPr>
            <a:lvl5pPr>
              <a:defRPr sz="1550" b="1" i="0">
                <a:latin typeface="Helvetica" pitchFamily="2" charset="0"/>
              </a:defRPr>
            </a:lvl5pPr>
          </a:lstStyle>
          <a:p>
            <a:pPr lvl="0"/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408707162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Predmet 1" hidden="1">
            <a:extLst>
              <a:ext uri="{FF2B5EF4-FFF2-40B4-BE49-F238E27FC236}">
                <a16:creationId xmlns:a16="http://schemas.microsoft.com/office/drawing/2014/main" id="{BC46232C-F347-552B-3AA0-6EBE1378C10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2" name="Predmet 1" hidden="1">
                        <a:extLst>
                          <a:ext uri="{FF2B5EF4-FFF2-40B4-BE49-F238E27FC236}">
                            <a16:creationId xmlns:a16="http://schemas.microsoft.com/office/drawing/2014/main" id="{BC46232C-F347-552B-3AA0-6EBE1378C105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bg object 16">
            <a:extLst>
              <a:ext uri="{FF2B5EF4-FFF2-40B4-BE49-F238E27FC236}">
                <a16:creationId xmlns:a16="http://schemas.microsoft.com/office/drawing/2014/main" id="{418F056E-CC42-9A67-C0D0-9D93545EC6B8}"/>
              </a:ext>
            </a:extLst>
          </p:cNvPr>
          <p:cNvSpPr>
            <a:spLocks/>
          </p:cNvSpPr>
          <p:nvPr userDrawn="1"/>
        </p:nvSpPr>
        <p:spPr bwMode="auto">
          <a:xfrm>
            <a:off x="0" y="15875"/>
            <a:ext cx="20104100" cy="1530350"/>
          </a:xfrm>
          <a:custGeom>
            <a:avLst/>
            <a:gdLst>
              <a:gd name="T0" fmla="*/ 0 w 20104100"/>
              <a:gd name="T1" fmla="*/ 1530592 h 1530985"/>
              <a:gd name="T2" fmla="*/ 20104099 w 20104100"/>
              <a:gd name="T3" fmla="*/ 1530592 h 1530985"/>
              <a:gd name="T4" fmla="*/ 20104099 w 20104100"/>
              <a:gd name="T5" fmla="*/ 0 h 1530985"/>
              <a:gd name="T6" fmla="*/ 0 w 20104100"/>
              <a:gd name="T7" fmla="*/ 0 h 1530985"/>
              <a:gd name="T8" fmla="*/ 0 w 20104100"/>
              <a:gd name="T9" fmla="*/ 1530592 h 15309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0104100" h="1530985">
                <a:moveTo>
                  <a:pt x="0" y="1530592"/>
                </a:moveTo>
                <a:lnTo>
                  <a:pt x="20104099" y="1530592"/>
                </a:lnTo>
                <a:lnTo>
                  <a:pt x="20104099" y="0"/>
                </a:lnTo>
                <a:lnTo>
                  <a:pt x="0" y="0"/>
                </a:lnTo>
                <a:lnTo>
                  <a:pt x="0" y="1530592"/>
                </a:lnTo>
                <a:close/>
              </a:path>
            </a:pathLst>
          </a:custGeom>
          <a:solidFill>
            <a:srgbClr val="767B6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en-AU"/>
          </a:p>
        </p:txBody>
      </p:sp>
      <p:sp>
        <p:nvSpPr>
          <p:cNvPr id="5" name="Holder 2">
            <a:extLst>
              <a:ext uri="{FF2B5EF4-FFF2-40B4-BE49-F238E27FC236}">
                <a16:creationId xmlns:a16="http://schemas.microsoft.com/office/drawing/2014/main" id="{CA7E6564-FB1A-B43B-DB27-F0AD2FB64FDB}"/>
              </a:ext>
            </a:extLst>
          </p:cNvPr>
          <p:cNvSpPr txBox="1">
            <a:spLocks/>
          </p:cNvSpPr>
          <p:nvPr userDrawn="1"/>
        </p:nvSpPr>
        <p:spPr>
          <a:xfrm>
            <a:off x="3956050" y="606425"/>
            <a:ext cx="10163175" cy="400050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>
            <a:lvl1pPr>
              <a:defRPr sz="2600" b="1" i="0">
                <a:solidFill>
                  <a:schemeClr val="bg1"/>
                </a:solidFill>
                <a:latin typeface="Helvetica" pitchFamily="2" charset="0"/>
                <a:ea typeface="+mj-ea"/>
                <a:cs typeface="Helvetica Neue"/>
              </a:defRPr>
            </a:lvl1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it-IT" b="0" kern="0" spc="300" dirty="0">
                <a:latin typeface="Helvetica Light" panose="020B0403020202020204" pitchFamily="34" charset="0"/>
              </a:rPr>
              <a:t>COLLECTION</a:t>
            </a:r>
          </a:p>
        </p:txBody>
      </p:sp>
      <p:sp>
        <p:nvSpPr>
          <p:cNvPr id="6" name="Holder 2">
            <a:extLst>
              <a:ext uri="{FF2B5EF4-FFF2-40B4-BE49-F238E27FC236}">
                <a16:creationId xmlns:a16="http://schemas.microsoft.com/office/drawing/2014/main" id="{61B33A69-1788-598F-1A6C-BB975D7188B3}"/>
              </a:ext>
            </a:extLst>
          </p:cNvPr>
          <p:cNvSpPr txBox="1">
            <a:spLocks/>
          </p:cNvSpPr>
          <p:nvPr userDrawn="1"/>
        </p:nvSpPr>
        <p:spPr>
          <a:xfrm>
            <a:off x="679450" y="606425"/>
            <a:ext cx="3505200" cy="400050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>
            <a:lvl1pPr>
              <a:defRPr sz="2600" b="1" i="0">
                <a:solidFill>
                  <a:schemeClr val="bg1"/>
                </a:solidFill>
                <a:latin typeface="Helvetica" pitchFamily="2" charset="0"/>
                <a:ea typeface="+mj-ea"/>
                <a:cs typeface="Helvetica Neue"/>
              </a:defRPr>
            </a:lvl1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it-IT" spc="600" dirty="0"/>
              <a:t>CAMPERVANS</a:t>
            </a:r>
            <a:endParaRPr lang="it-IT" kern="0" spc="600" dirty="0"/>
          </a:p>
        </p:txBody>
      </p:sp>
      <p:sp>
        <p:nvSpPr>
          <p:cNvPr id="7" name="object 2">
            <a:extLst>
              <a:ext uri="{FF2B5EF4-FFF2-40B4-BE49-F238E27FC236}">
                <a16:creationId xmlns:a16="http://schemas.microsoft.com/office/drawing/2014/main" id="{7E3F0611-4F0B-79C7-B8FA-D4978C6884C7}"/>
              </a:ext>
            </a:extLst>
          </p:cNvPr>
          <p:cNvSpPr>
            <a:spLocks/>
          </p:cNvSpPr>
          <p:nvPr userDrawn="1"/>
        </p:nvSpPr>
        <p:spPr bwMode="auto">
          <a:xfrm>
            <a:off x="16451263" y="663575"/>
            <a:ext cx="3090862" cy="254000"/>
          </a:xfrm>
          <a:custGeom>
            <a:avLst/>
            <a:gdLst>
              <a:gd name="T0" fmla="*/ 343852 w 3090544"/>
              <a:gd name="T1" fmla="*/ 175133 h 253365"/>
              <a:gd name="T2" fmla="*/ 293979 w 3090544"/>
              <a:gd name="T3" fmla="*/ 165417 h 253365"/>
              <a:gd name="T4" fmla="*/ 266420 w 3090544"/>
              <a:gd name="T5" fmla="*/ 207365 h 253365"/>
              <a:gd name="T6" fmla="*/ 293979 w 3090544"/>
              <a:gd name="T7" fmla="*/ 249301 h 253365"/>
              <a:gd name="T8" fmla="*/ 343852 w 3090544"/>
              <a:gd name="T9" fmla="*/ 239534 h 253365"/>
              <a:gd name="T10" fmla="*/ 622452 w 3090544"/>
              <a:gd name="T11" fmla="*/ 246989 h 253365"/>
              <a:gd name="T12" fmla="*/ 413931 w 3090544"/>
              <a:gd name="T13" fmla="*/ 7061 h 253365"/>
              <a:gd name="T14" fmla="*/ 75628 w 3090544"/>
              <a:gd name="T15" fmla="*/ 9728 h 253365"/>
              <a:gd name="T16" fmla="*/ 0 w 3090544"/>
              <a:gd name="T17" fmla="*/ 123494 h 253365"/>
              <a:gd name="T18" fmla="*/ 75628 w 3090544"/>
              <a:gd name="T19" fmla="*/ 237286 h 253365"/>
              <a:gd name="T20" fmla="*/ 238823 w 3090544"/>
              <a:gd name="T21" fmla="*/ 203530 h 253365"/>
              <a:gd name="T22" fmla="*/ 164350 w 3090544"/>
              <a:gd name="T23" fmla="*/ 153962 h 253365"/>
              <a:gd name="T24" fmla="*/ 181749 w 3090544"/>
              <a:gd name="T25" fmla="*/ 65608 h 253365"/>
              <a:gd name="T26" fmla="*/ 258483 w 3090544"/>
              <a:gd name="T27" fmla="*/ 44411 h 253365"/>
              <a:gd name="T28" fmla="*/ 303085 w 3090544"/>
              <a:gd name="T29" fmla="*/ 74142 h 253365"/>
              <a:gd name="T30" fmla="*/ 1268044 w 3090544"/>
              <a:gd name="T31" fmla="*/ 248894 h 253365"/>
              <a:gd name="T32" fmla="*/ 1146378 w 3090544"/>
              <a:gd name="T33" fmla="*/ 92595 h 253365"/>
              <a:gd name="T34" fmla="*/ 1023289 w 3090544"/>
              <a:gd name="T35" fmla="*/ 174459 h 253365"/>
              <a:gd name="T36" fmla="*/ 1023289 w 3090544"/>
              <a:gd name="T37" fmla="*/ 174459 h 253365"/>
              <a:gd name="T38" fmla="*/ 906818 w 3090544"/>
              <a:gd name="T39" fmla="*/ 52743 h 253365"/>
              <a:gd name="T40" fmla="*/ 864831 w 3090544"/>
              <a:gd name="T41" fmla="*/ 218249 h 253365"/>
              <a:gd name="T42" fmla="*/ 1268044 w 3090544"/>
              <a:gd name="T43" fmla="*/ 248894 h 253365"/>
              <a:gd name="T44" fmla="*/ 1706829 w 3090544"/>
              <a:gd name="T45" fmla="*/ 43764 h 253365"/>
              <a:gd name="T46" fmla="*/ 1585315 w 3090544"/>
              <a:gd name="T47" fmla="*/ 2298 h 253365"/>
              <a:gd name="T48" fmla="*/ 1564487 w 3090544"/>
              <a:gd name="T49" fmla="*/ 183870 h 253365"/>
              <a:gd name="T50" fmla="*/ 1458353 w 3090544"/>
              <a:gd name="T51" fmla="*/ 205105 h 253365"/>
              <a:gd name="T52" fmla="*/ 1538414 w 3090544"/>
              <a:gd name="T53" fmla="*/ 49377 h 253365"/>
              <a:gd name="T54" fmla="*/ 1585315 w 3090544"/>
              <a:gd name="T55" fmla="*/ 124942 h 253365"/>
              <a:gd name="T56" fmla="*/ 1301597 w 3090544"/>
              <a:gd name="T57" fmla="*/ 0 h 253365"/>
              <a:gd name="T58" fmla="*/ 1604314 w 3090544"/>
              <a:gd name="T59" fmla="*/ 245668 h 253365"/>
              <a:gd name="T60" fmla="*/ 1735251 w 3090544"/>
              <a:gd name="T61" fmla="*/ 164058 h 253365"/>
              <a:gd name="T62" fmla="*/ 2206523 w 3090544"/>
              <a:gd name="T63" fmla="*/ 157530 h 253365"/>
              <a:gd name="T64" fmla="*/ 2261095 w 3090544"/>
              <a:gd name="T65" fmla="*/ 106921 h 253365"/>
              <a:gd name="T66" fmla="*/ 2252942 w 3090544"/>
              <a:gd name="T67" fmla="*/ 43802 h 253365"/>
              <a:gd name="T68" fmla="*/ 2154047 w 3090544"/>
              <a:gd name="T69" fmla="*/ 0 h 253365"/>
              <a:gd name="T70" fmla="*/ 1977072 w 3090544"/>
              <a:gd name="T71" fmla="*/ 248894 h 253365"/>
              <a:gd name="T72" fmla="*/ 2073948 w 3090544"/>
              <a:gd name="T73" fmla="*/ 47777 h 253365"/>
              <a:gd name="T74" fmla="*/ 2104517 w 3090544"/>
              <a:gd name="T75" fmla="*/ 89331 h 253365"/>
              <a:gd name="T76" fmla="*/ 2063915 w 3090544"/>
              <a:gd name="T77" fmla="*/ 136613 h 253365"/>
              <a:gd name="T78" fmla="*/ 2081834 w 3090544"/>
              <a:gd name="T79" fmla="*/ 248894 h 253365"/>
              <a:gd name="T80" fmla="*/ 2366886 w 3090544"/>
              <a:gd name="T81" fmla="*/ 12 h 253365"/>
              <a:gd name="T82" fmla="*/ 2523629 w 3090544"/>
              <a:gd name="T83" fmla="*/ 12 h 253365"/>
              <a:gd name="T84" fmla="*/ 3032163 w 3090544"/>
              <a:gd name="T85" fmla="*/ 174459 h 253365"/>
              <a:gd name="T86" fmla="*/ 2845473 w 3090544"/>
              <a:gd name="T87" fmla="*/ 0 h 253365"/>
              <a:gd name="T88" fmla="*/ 2782201 w 3090544"/>
              <a:gd name="T89" fmla="*/ 92595 h 253365"/>
              <a:gd name="T90" fmla="*/ 2688132 w 3090544"/>
              <a:gd name="T91" fmla="*/ 0 h 253365"/>
              <a:gd name="T92" fmla="*/ 2661729 w 3090544"/>
              <a:gd name="T93" fmla="*/ 248894 h 253365"/>
              <a:gd name="T94" fmla="*/ 2902902 w 3090544"/>
              <a:gd name="T95" fmla="*/ 248894 h 25336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3090544" h="253365">
                <a:moveTo>
                  <a:pt x="357009" y="207365"/>
                </a:moveTo>
                <a:lnTo>
                  <a:pt x="353491" y="189585"/>
                </a:lnTo>
                <a:lnTo>
                  <a:pt x="343852" y="175133"/>
                </a:lnTo>
                <a:lnTo>
                  <a:pt x="329476" y="165417"/>
                </a:lnTo>
                <a:lnTo>
                  <a:pt x="311746" y="161861"/>
                </a:lnTo>
                <a:lnTo>
                  <a:pt x="293979" y="165417"/>
                </a:lnTo>
                <a:lnTo>
                  <a:pt x="279577" y="175133"/>
                </a:lnTo>
                <a:lnTo>
                  <a:pt x="269938" y="189585"/>
                </a:lnTo>
                <a:lnTo>
                  <a:pt x="266420" y="207365"/>
                </a:lnTo>
                <a:lnTo>
                  <a:pt x="269938" y="225056"/>
                </a:lnTo>
                <a:lnTo>
                  <a:pt x="279577" y="239534"/>
                </a:lnTo>
                <a:lnTo>
                  <a:pt x="293979" y="249301"/>
                </a:lnTo>
                <a:lnTo>
                  <a:pt x="311746" y="252895"/>
                </a:lnTo>
                <a:lnTo>
                  <a:pt x="329476" y="249301"/>
                </a:lnTo>
                <a:lnTo>
                  <a:pt x="343852" y="239534"/>
                </a:lnTo>
                <a:lnTo>
                  <a:pt x="353491" y="225056"/>
                </a:lnTo>
                <a:lnTo>
                  <a:pt x="357009" y="207365"/>
                </a:lnTo>
                <a:close/>
              </a:path>
              <a:path w="3090544" h="253365">
                <a:moveTo>
                  <a:pt x="622452" y="246989"/>
                </a:moveTo>
                <a:lnTo>
                  <a:pt x="493928" y="81991"/>
                </a:lnTo>
                <a:lnTo>
                  <a:pt x="469874" y="51904"/>
                </a:lnTo>
                <a:lnTo>
                  <a:pt x="413931" y="7061"/>
                </a:lnTo>
                <a:lnTo>
                  <a:pt x="377621" y="12"/>
                </a:lnTo>
                <a:lnTo>
                  <a:pt x="123710" y="12"/>
                </a:lnTo>
                <a:lnTo>
                  <a:pt x="75628" y="9728"/>
                </a:lnTo>
                <a:lnTo>
                  <a:pt x="36296" y="36195"/>
                </a:lnTo>
                <a:lnTo>
                  <a:pt x="9740" y="75450"/>
                </a:lnTo>
                <a:lnTo>
                  <a:pt x="0" y="123494"/>
                </a:lnTo>
                <a:lnTo>
                  <a:pt x="9740" y="171564"/>
                </a:lnTo>
                <a:lnTo>
                  <a:pt x="36296" y="210820"/>
                </a:lnTo>
                <a:lnTo>
                  <a:pt x="75628" y="237286"/>
                </a:lnTo>
                <a:lnTo>
                  <a:pt x="123710" y="246989"/>
                </a:lnTo>
                <a:lnTo>
                  <a:pt x="238823" y="246989"/>
                </a:lnTo>
                <a:lnTo>
                  <a:pt x="238823" y="203530"/>
                </a:lnTo>
                <a:lnTo>
                  <a:pt x="207429" y="197129"/>
                </a:lnTo>
                <a:lnTo>
                  <a:pt x="181724" y="179705"/>
                </a:lnTo>
                <a:lnTo>
                  <a:pt x="164350" y="153962"/>
                </a:lnTo>
                <a:lnTo>
                  <a:pt x="157975" y="122542"/>
                </a:lnTo>
                <a:lnTo>
                  <a:pt x="164363" y="91198"/>
                </a:lnTo>
                <a:lnTo>
                  <a:pt x="181749" y="65608"/>
                </a:lnTo>
                <a:lnTo>
                  <a:pt x="207530" y="48361"/>
                </a:lnTo>
                <a:lnTo>
                  <a:pt x="239064" y="42037"/>
                </a:lnTo>
                <a:lnTo>
                  <a:pt x="258483" y="44411"/>
                </a:lnTo>
                <a:lnTo>
                  <a:pt x="275844" y="51041"/>
                </a:lnTo>
                <a:lnTo>
                  <a:pt x="290817" y="61201"/>
                </a:lnTo>
                <a:lnTo>
                  <a:pt x="303085" y="74142"/>
                </a:lnTo>
                <a:lnTo>
                  <a:pt x="436664" y="246989"/>
                </a:lnTo>
                <a:lnTo>
                  <a:pt x="622452" y="246989"/>
                </a:lnTo>
                <a:close/>
              </a:path>
              <a:path w="3090544" h="253365">
                <a:moveTo>
                  <a:pt x="1268044" y="248894"/>
                </a:moveTo>
                <a:lnTo>
                  <a:pt x="1244193" y="218249"/>
                </a:lnTo>
                <a:lnTo>
                  <a:pt x="1210106" y="174459"/>
                </a:lnTo>
                <a:lnTo>
                  <a:pt x="1146378" y="92595"/>
                </a:lnTo>
                <a:lnTo>
                  <a:pt x="1074293" y="0"/>
                </a:lnTo>
                <a:lnTo>
                  <a:pt x="1023289" y="0"/>
                </a:lnTo>
                <a:lnTo>
                  <a:pt x="1023289" y="174459"/>
                </a:lnTo>
                <a:lnTo>
                  <a:pt x="894892" y="174459"/>
                </a:lnTo>
                <a:lnTo>
                  <a:pt x="960107" y="92595"/>
                </a:lnTo>
                <a:lnTo>
                  <a:pt x="1023289" y="174459"/>
                </a:lnTo>
                <a:lnTo>
                  <a:pt x="1023289" y="0"/>
                </a:lnTo>
                <a:lnTo>
                  <a:pt x="866051" y="0"/>
                </a:lnTo>
                <a:lnTo>
                  <a:pt x="906818" y="52743"/>
                </a:lnTo>
                <a:lnTo>
                  <a:pt x="746315" y="248894"/>
                </a:lnTo>
                <a:lnTo>
                  <a:pt x="839660" y="248894"/>
                </a:lnTo>
                <a:lnTo>
                  <a:pt x="864831" y="218249"/>
                </a:lnTo>
                <a:lnTo>
                  <a:pt x="1057160" y="218249"/>
                </a:lnTo>
                <a:lnTo>
                  <a:pt x="1080795" y="248894"/>
                </a:lnTo>
                <a:lnTo>
                  <a:pt x="1268044" y="248894"/>
                </a:lnTo>
                <a:close/>
              </a:path>
              <a:path w="3090544" h="253365">
                <a:moveTo>
                  <a:pt x="1740636" y="125158"/>
                </a:moveTo>
                <a:lnTo>
                  <a:pt x="1735315" y="86347"/>
                </a:lnTo>
                <a:lnTo>
                  <a:pt x="1706829" y="43764"/>
                </a:lnTo>
                <a:lnTo>
                  <a:pt x="1654098" y="13538"/>
                </a:lnTo>
                <a:lnTo>
                  <a:pt x="1604657" y="3365"/>
                </a:lnTo>
                <a:lnTo>
                  <a:pt x="1585315" y="2298"/>
                </a:lnTo>
                <a:lnTo>
                  <a:pt x="1585315" y="124942"/>
                </a:lnTo>
                <a:lnTo>
                  <a:pt x="1580108" y="158673"/>
                </a:lnTo>
                <a:lnTo>
                  <a:pt x="1564487" y="183870"/>
                </a:lnTo>
                <a:lnTo>
                  <a:pt x="1538516" y="199644"/>
                </a:lnTo>
                <a:lnTo>
                  <a:pt x="1502232" y="205105"/>
                </a:lnTo>
                <a:lnTo>
                  <a:pt x="1458353" y="205105"/>
                </a:lnTo>
                <a:lnTo>
                  <a:pt x="1458353" y="43764"/>
                </a:lnTo>
                <a:lnTo>
                  <a:pt x="1502232" y="43764"/>
                </a:lnTo>
                <a:lnTo>
                  <a:pt x="1538414" y="49377"/>
                </a:lnTo>
                <a:lnTo>
                  <a:pt x="1564398" y="65506"/>
                </a:lnTo>
                <a:lnTo>
                  <a:pt x="1580070" y="91059"/>
                </a:lnTo>
                <a:lnTo>
                  <a:pt x="1585315" y="124942"/>
                </a:lnTo>
                <a:lnTo>
                  <a:pt x="1585315" y="2298"/>
                </a:lnTo>
                <a:lnTo>
                  <a:pt x="1543723" y="0"/>
                </a:lnTo>
                <a:lnTo>
                  <a:pt x="1301597" y="0"/>
                </a:lnTo>
                <a:lnTo>
                  <a:pt x="1301597" y="248894"/>
                </a:lnTo>
                <a:lnTo>
                  <a:pt x="1543723" y="248894"/>
                </a:lnTo>
                <a:lnTo>
                  <a:pt x="1604314" y="245668"/>
                </a:lnTo>
                <a:lnTo>
                  <a:pt x="1653654" y="235839"/>
                </a:lnTo>
                <a:lnTo>
                  <a:pt x="1691855" y="219138"/>
                </a:lnTo>
                <a:lnTo>
                  <a:pt x="1735251" y="164058"/>
                </a:lnTo>
                <a:lnTo>
                  <a:pt x="1740636" y="125158"/>
                </a:lnTo>
                <a:close/>
              </a:path>
              <a:path w="3090544" h="253365">
                <a:moveTo>
                  <a:pt x="2277529" y="248894"/>
                </a:moveTo>
                <a:lnTo>
                  <a:pt x="2206523" y="157530"/>
                </a:lnTo>
                <a:lnTo>
                  <a:pt x="2231339" y="145008"/>
                </a:lnTo>
                <a:lnTo>
                  <a:pt x="2249703" y="127965"/>
                </a:lnTo>
                <a:lnTo>
                  <a:pt x="2261095" y="106921"/>
                </a:lnTo>
                <a:lnTo>
                  <a:pt x="2265019" y="82397"/>
                </a:lnTo>
                <a:lnTo>
                  <a:pt x="2258149" y="50393"/>
                </a:lnTo>
                <a:lnTo>
                  <a:pt x="2252942" y="43802"/>
                </a:lnTo>
                <a:lnTo>
                  <a:pt x="2237448" y="24193"/>
                </a:lnTo>
                <a:lnTo>
                  <a:pt x="2202789" y="6502"/>
                </a:lnTo>
                <a:lnTo>
                  <a:pt x="2154047" y="0"/>
                </a:lnTo>
                <a:lnTo>
                  <a:pt x="1820545" y="0"/>
                </a:lnTo>
                <a:lnTo>
                  <a:pt x="1820545" y="248894"/>
                </a:lnTo>
                <a:lnTo>
                  <a:pt x="1977072" y="248894"/>
                </a:lnTo>
                <a:lnTo>
                  <a:pt x="1977072" y="43802"/>
                </a:lnTo>
                <a:lnTo>
                  <a:pt x="2047989" y="43802"/>
                </a:lnTo>
                <a:lnTo>
                  <a:pt x="2073948" y="47777"/>
                </a:lnTo>
                <a:lnTo>
                  <a:pt x="2091486" y="58178"/>
                </a:lnTo>
                <a:lnTo>
                  <a:pt x="2101392" y="72783"/>
                </a:lnTo>
                <a:lnTo>
                  <a:pt x="2104517" y="89331"/>
                </a:lnTo>
                <a:lnTo>
                  <a:pt x="2098624" y="111201"/>
                </a:lnTo>
                <a:lnTo>
                  <a:pt x="2083714" y="127012"/>
                </a:lnTo>
                <a:lnTo>
                  <a:pt x="2063915" y="136613"/>
                </a:lnTo>
                <a:lnTo>
                  <a:pt x="2043353" y="139852"/>
                </a:lnTo>
                <a:lnTo>
                  <a:pt x="2022157" y="139852"/>
                </a:lnTo>
                <a:lnTo>
                  <a:pt x="2081834" y="248894"/>
                </a:lnTo>
                <a:lnTo>
                  <a:pt x="2277529" y="248894"/>
                </a:lnTo>
                <a:close/>
              </a:path>
              <a:path w="3090544" h="253365">
                <a:moveTo>
                  <a:pt x="2523629" y="12"/>
                </a:moveTo>
                <a:lnTo>
                  <a:pt x="2366886" y="12"/>
                </a:lnTo>
                <a:lnTo>
                  <a:pt x="2366886" y="248894"/>
                </a:lnTo>
                <a:lnTo>
                  <a:pt x="2523629" y="248894"/>
                </a:lnTo>
                <a:lnTo>
                  <a:pt x="2523629" y="12"/>
                </a:lnTo>
                <a:close/>
              </a:path>
              <a:path w="3090544" h="253365">
                <a:moveTo>
                  <a:pt x="3090049" y="248894"/>
                </a:moveTo>
                <a:lnTo>
                  <a:pt x="3066224" y="218249"/>
                </a:lnTo>
                <a:lnTo>
                  <a:pt x="3032163" y="174459"/>
                </a:lnTo>
                <a:lnTo>
                  <a:pt x="2968498" y="92595"/>
                </a:lnTo>
                <a:lnTo>
                  <a:pt x="2896476" y="0"/>
                </a:lnTo>
                <a:lnTo>
                  <a:pt x="2845473" y="0"/>
                </a:lnTo>
                <a:lnTo>
                  <a:pt x="2845473" y="174459"/>
                </a:lnTo>
                <a:lnTo>
                  <a:pt x="2716720" y="174459"/>
                </a:lnTo>
                <a:lnTo>
                  <a:pt x="2782201" y="92595"/>
                </a:lnTo>
                <a:lnTo>
                  <a:pt x="2845473" y="174459"/>
                </a:lnTo>
                <a:lnTo>
                  <a:pt x="2845473" y="0"/>
                </a:lnTo>
                <a:lnTo>
                  <a:pt x="2688132" y="0"/>
                </a:lnTo>
                <a:lnTo>
                  <a:pt x="2728988" y="52743"/>
                </a:lnTo>
                <a:lnTo>
                  <a:pt x="2568397" y="248894"/>
                </a:lnTo>
                <a:lnTo>
                  <a:pt x="2661729" y="248894"/>
                </a:lnTo>
                <a:lnTo>
                  <a:pt x="2686913" y="218249"/>
                </a:lnTo>
                <a:lnTo>
                  <a:pt x="2879267" y="218249"/>
                </a:lnTo>
                <a:lnTo>
                  <a:pt x="2902902" y="248894"/>
                </a:lnTo>
                <a:lnTo>
                  <a:pt x="3090049" y="248894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en-AU"/>
          </a:p>
        </p:txBody>
      </p:sp>
      <p:sp>
        <p:nvSpPr>
          <p:cNvPr id="8" name="object 2">
            <a:extLst>
              <a:ext uri="{FF2B5EF4-FFF2-40B4-BE49-F238E27FC236}">
                <a16:creationId xmlns:a16="http://schemas.microsoft.com/office/drawing/2014/main" id="{1530BE3C-3682-7F6E-CC8B-8567664D0B5B}"/>
              </a:ext>
            </a:extLst>
          </p:cNvPr>
          <p:cNvSpPr txBox="1"/>
          <p:nvPr userDrawn="1"/>
        </p:nvSpPr>
        <p:spPr>
          <a:xfrm>
            <a:off x="7143750" y="1758950"/>
            <a:ext cx="5816600" cy="1133475"/>
          </a:xfrm>
          <a:prstGeom prst="rect">
            <a:avLst/>
          </a:prstGeom>
        </p:spPr>
        <p:txBody>
          <a:bodyPr lIns="0" tIns="89535" rIns="0" bIns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it-IT" sz="2400" b="1" spc="300" dirty="0">
                <a:latin typeface="Helvetica Neue" panose="02000503000000020004" pitchFamily="2" charset="0"/>
              </a:rPr>
              <a:t>DESIGNED FOR LIVING</a:t>
            </a:r>
            <a:endParaRPr lang="it-IT" sz="2400" spc="300" dirty="0">
              <a:latin typeface="Helvetica Neue" panose="02000503000000020004" pitchFamily="2" charset="0"/>
            </a:endParaRPr>
          </a:p>
          <a:p>
            <a:pPr algn="ctr" eaLnBrk="1" fontAlgn="auto" hangingPunct="1">
              <a:spcBef>
                <a:spcPts val="975"/>
              </a:spcBef>
              <a:spcAft>
                <a:spcPts val="0"/>
              </a:spcAft>
              <a:defRPr/>
            </a:pPr>
            <a:r>
              <a:rPr lang="it-IT" sz="3550" b="1" spc="300" dirty="0">
                <a:solidFill>
                  <a:srgbClr val="666666"/>
                </a:solidFill>
                <a:latin typeface="Helvetica Neue"/>
                <a:cs typeface="Helvetica Neue"/>
              </a:rPr>
              <a:t>EXTERIOR</a:t>
            </a:r>
            <a:endParaRPr lang="it-IT" sz="3550" spc="300" dirty="0">
              <a:latin typeface="Helvetica Neue"/>
              <a:cs typeface="Helvetica Neue"/>
            </a:endParaRPr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11559857" y="3401226"/>
            <a:ext cx="7035060" cy="3522979"/>
          </a:xfrm>
          <a:prstGeom prst="rect">
            <a:avLst/>
          </a:prstGeom>
          <a:solidFill>
            <a:srgbClr val="E5E5E5"/>
          </a:solidFill>
        </p:spPr>
        <p:txBody>
          <a:bodyPr/>
          <a:lstStyle>
            <a:lvl1pPr>
              <a:defRPr/>
            </a:lvl1pPr>
          </a:lstStyle>
          <a:p>
            <a:endParaRPr dirty="0"/>
          </a:p>
        </p:txBody>
      </p:sp>
      <p:sp>
        <p:nvSpPr>
          <p:cNvPr id="12" name="Holder 4"/>
          <p:cNvSpPr>
            <a:spLocks noGrp="1"/>
          </p:cNvSpPr>
          <p:nvPr>
            <p:ph sz="half" idx="10"/>
          </p:nvPr>
        </p:nvSpPr>
        <p:spPr>
          <a:xfrm>
            <a:off x="11559857" y="7103797"/>
            <a:ext cx="7035060" cy="3522979"/>
          </a:xfrm>
          <a:prstGeom prst="rect">
            <a:avLst/>
          </a:prstGeom>
          <a:solidFill>
            <a:srgbClr val="E5E5E5"/>
          </a:solidFill>
        </p:spPr>
        <p:txBody>
          <a:bodyPr/>
          <a:lstStyle>
            <a:lvl1pPr>
              <a:defRPr/>
            </a:lvl1pPr>
          </a:lstStyle>
          <a:p>
            <a:endParaRPr dirty="0"/>
          </a:p>
        </p:txBody>
      </p:sp>
      <p:sp>
        <p:nvSpPr>
          <p:cNvPr id="20" name="Segnaposto testo 43"/>
          <p:cNvSpPr>
            <a:spLocks noGrp="1"/>
          </p:cNvSpPr>
          <p:nvPr>
            <p:ph type="body" sz="quarter" idx="25"/>
          </p:nvPr>
        </p:nvSpPr>
        <p:spPr>
          <a:xfrm>
            <a:off x="1554270" y="3385725"/>
            <a:ext cx="7233284" cy="400110"/>
          </a:xfrm>
        </p:spPr>
        <p:txBody>
          <a:bodyPr/>
          <a:lstStyle>
            <a:lvl1pPr>
              <a:defRPr sz="2600" b="1" i="0" u="sng">
                <a:latin typeface="Helvetica" pitchFamily="2" charset="0"/>
              </a:defRPr>
            </a:lvl1pPr>
            <a:lvl2pPr>
              <a:defRPr sz="2600" b="1" i="0">
                <a:latin typeface="Helvetica" pitchFamily="2" charset="0"/>
              </a:defRPr>
            </a:lvl2pPr>
            <a:lvl3pPr>
              <a:defRPr sz="2600" b="1" i="0">
                <a:latin typeface="Helvetica" pitchFamily="2" charset="0"/>
              </a:defRPr>
            </a:lvl3pPr>
            <a:lvl4pPr>
              <a:defRPr sz="2600" b="1" i="0">
                <a:latin typeface="Helvetica" pitchFamily="2" charset="0"/>
              </a:defRPr>
            </a:lvl4pPr>
            <a:lvl5pPr>
              <a:defRPr sz="2600" b="1" i="0">
                <a:latin typeface="Helvetica" pitchFamily="2" charset="0"/>
              </a:defRPr>
            </a:lvl5pPr>
          </a:lstStyle>
          <a:p>
            <a:pPr lvl="0"/>
            <a:endParaRPr lang="it-IT" dirty="0"/>
          </a:p>
        </p:txBody>
      </p:sp>
      <p:sp>
        <p:nvSpPr>
          <p:cNvPr id="23" name="Segnaposto testo 22"/>
          <p:cNvSpPr>
            <a:spLocks noGrp="1"/>
          </p:cNvSpPr>
          <p:nvPr>
            <p:ph type="body" sz="quarter" idx="26"/>
          </p:nvPr>
        </p:nvSpPr>
        <p:spPr>
          <a:xfrm>
            <a:off x="1554163" y="3975839"/>
            <a:ext cx="9046453" cy="338554"/>
          </a:xfrm>
        </p:spPr>
        <p:txBody>
          <a:bodyPr/>
          <a:lstStyle>
            <a:lvl1pPr>
              <a:defRPr sz="2200">
                <a:latin typeface="Helvetica" pitchFamily="2" charset="0"/>
              </a:defRPr>
            </a:lvl1pPr>
          </a:lstStyle>
          <a:p>
            <a:pPr lvl="0"/>
            <a:endParaRPr lang="it-IT" dirty="0"/>
          </a:p>
        </p:txBody>
      </p:sp>
      <p:sp>
        <p:nvSpPr>
          <p:cNvPr id="24" name="Segnaposto testo 43"/>
          <p:cNvSpPr>
            <a:spLocks noGrp="1"/>
          </p:cNvSpPr>
          <p:nvPr>
            <p:ph type="body" sz="quarter" idx="27"/>
          </p:nvPr>
        </p:nvSpPr>
        <p:spPr>
          <a:xfrm>
            <a:off x="1554270" y="5807075"/>
            <a:ext cx="7233284" cy="400110"/>
          </a:xfrm>
        </p:spPr>
        <p:txBody>
          <a:bodyPr/>
          <a:lstStyle>
            <a:lvl1pPr>
              <a:defRPr sz="2600" b="1" i="0" u="sng">
                <a:latin typeface="Helvetica" pitchFamily="2" charset="0"/>
              </a:defRPr>
            </a:lvl1pPr>
            <a:lvl2pPr>
              <a:defRPr sz="2600" b="1" i="0">
                <a:latin typeface="Helvetica" pitchFamily="2" charset="0"/>
              </a:defRPr>
            </a:lvl2pPr>
            <a:lvl3pPr>
              <a:defRPr sz="2600" b="1" i="0">
                <a:latin typeface="Helvetica" pitchFamily="2" charset="0"/>
              </a:defRPr>
            </a:lvl3pPr>
            <a:lvl4pPr>
              <a:defRPr sz="2600" b="1" i="0">
                <a:latin typeface="Helvetica" pitchFamily="2" charset="0"/>
              </a:defRPr>
            </a:lvl4pPr>
            <a:lvl5pPr>
              <a:defRPr sz="2600" b="1" i="0">
                <a:latin typeface="Helvetica" pitchFamily="2" charset="0"/>
              </a:defRPr>
            </a:lvl5pPr>
          </a:lstStyle>
          <a:p>
            <a:pPr lvl="0"/>
            <a:endParaRPr lang="it-IT" dirty="0"/>
          </a:p>
        </p:txBody>
      </p:sp>
      <p:sp>
        <p:nvSpPr>
          <p:cNvPr id="25" name="Segnaposto testo 22"/>
          <p:cNvSpPr>
            <a:spLocks noGrp="1"/>
          </p:cNvSpPr>
          <p:nvPr>
            <p:ph type="body" sz="quarter" idx="28"/>
          </p:nvPr>
        </p:nvSpPr>
        <p:spPr>
          <a:xfrm>
            <a:off x="1554163" y="6397189"/>
            <a:ext cx="9046453" cy="338554"/>
          </a:xfrm>
        </p:spPr>
        <p:txBody>
          <a:bodyPr/>
          <a:lstStyle>
            <a:lvl1pPr>
              <a:defRPr sz="2200">
                <a:latin typeface="Helvetica" pitchFamily="2" charset="0"/>
              </a:defRPr>
            </a:lvl1pPr>
          </a:lstStyle>
          <a:p>
            <a:pPr lvl="0"/>
            <a:endParaRPr lang="it-IT" dirty="0"/>
          </a:p>
        </p:txBody>
      </p:sp>
      <p:sp>
        <p:nvSpPr>
          <p:cNvPr id="26" name="Segnaposto testo 43"/>
          <p:cNvSpPr>
            <a:spLocks noGrp="1"/>
          </p:cNvSpPr>
          <p:nvPr>
            <p:ph type="body" sz="quarter" idx="29"/>
          </p:nvPr>
        </p:nvSpPr>
        <p:spPr>
          <a:xfrm>
            <a:off x="1554270" y="8214098"/>
            <a:ext cx="7233284" cy="400110"/>
          </a:xfrm>
        </p:spPr>
        <p:txBody>
          <a:bodyPr/>
          <a:lstStyle>
            <a:lvl1pPr>
              <a:defRPr sz="2600" b="1" i="0" u="sng">
                <a:latin typeface="Helvetica" pitchFamily="2" charset="0"/>
              </a:defRPr>
            </a:lvl1pPr>
            <a:lvl2pPr>
              <a:defRPr sz="2600" b="1" i="0">
                <a:latin typeface="Helvetica" pitchFamily="2" charset="0"/>
              </a:defRPr>
            </a:lvl2pPr>
            <a:lvl3pPr>
              <a:defRPr sz="2600" b="1" i="0">
                <a:latin typeface="Helvetica" pitchFamily="2" charset="0"/>
              </a:defRPr>
            </a:lvl3pPr>
            <a:lvl4pPr>
              <a:defRPr sz="2600" b="1" i="0">
                <a:latin typeface="Helvetica" pitchFamily="2" charset="0"/>
              </a:defRPr>
            </a:lvl4pPr>
            <a:lvl5pPr>
              <a:defRPr sz="2600" b="1" i="0">
                <a:latin typeface="Helvetica" pitchFamily="2" charset="0"/>
              </a:defRPr>
            </a:lvl5pPr>
          </a:lstStyle>
          <a:p>
            <a:pPr lvl="0"/>
            <a:endParaRPr lang="it-IT" dirty="0"/>
          </a:p>
        </p:txBody>
      </p:sp>
      <p:sp>
        <p:nvSpPr>
          <p:cNvPr id="27" name="Segnaposto testo 22"/>
          <p:cNvSpPr>
            <a:spLocks noGrp="1"/>
          </p:cNvSpPr>
          <p:nvPr>
            <p:ph type="body" sz="quarter" idx="30"/>
          </p:nvPr>
        </p:nvSpPr>
        <p:spPr>
          <a:xfrm>
            <a:off x="1554163" y="8804212"/>
            <a:ext cx="9046453" cy="338554"/>
          </a:xfrm>
        </p:spPr>
        <p:txBody>
          <a:bodyPr/>
          <a:lstStyle>
            <a:lvl1pPr>
              <a:defRPr sz="2200">
                <a:latin typeface="Helvetica" pitchFamily="2" charset="0"/>
              </a:defRPr>
            </a:lvl1pPr>
          </a:lstStyle>
          <a:p>
            <a:pPr lvl="0"/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374362972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Predmet 1" hidden="1">
            <a:extLst>
              <a:ext uri="{FF2B5EF4-FFF2-40B4-BE49-F238E27FC236}">
                <a16:creationId xmlns:a16="http://schemas.microsoft.com/office/drawing/2014/main" id="{24964FF6-94AB-03C9-204F-B1A3CB0DBC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2" name="Predmet 1" hidden="1">
                        <a:extLst>
                          <a:ext uri="{FF2B5EF4-FFF2-40B4-BE49-F238E27FC236}">
                            <a16:creationId xmlns:a16="http://schemas.microsoft.com/office/drawing/2014/main" id="{24964FF6-94AB-03C9-204F-B1A3CB0DBCD7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bg object 16">
            <a:extLst>
              <a:ext uri="{FF2B5EF4-FFF2-40B4-BE49-F238E27FC236}">
                <a16:creationId xmlns:a16="http://schemas.microsoft.com/office/drawing/2014/main" id="{C0DE8FBF-70AF-781D-E29B-476ADB58803B}"/>
              </a:ext>
            </a:extLst>
          </p:cNvPr>
          <p:cNvSpPr>
            <a:spLocks/>
          </p:cNvSpPr>
          <p:nvPr userDrawn="1"/>
        </p:nvSpPr>
        <p:spPr bwMode="auto">
          <a:xfrm>
            <a:off x="0" y="15875"/>
            <a:ext cx="20104100" cy="1530350"/>
          </a:xfrm>
          <a:custGeom>
            <a:avLst/>
            <a:gdLst>
              <a:gd name="T0" fmla="*/ 0 w 20104100"/>
              <a:gd name="T1" fmla="*/ 1530592 h 1530985"/>
              <a:gd name="T2" fmla="*/ 20104099 w 20104100"/>
              <a:gd name="T3" fmla="*/ 1530592 h 1530985"/>
              <a:gd name="T4" fmla="*/ 20104099 w 20104100"/>
              <a:gd name="T5" fmla="*/ 0 h 1530985"/>
              <a:gd name="T6" fmla="*/ 0 w 20104100"/>
              <a:gd name="T7" fmla="*/ 0 h 1530985"/>
              <a:gd name="T8" fmla="*/ 0 w 20104100"/>
              <a:gd name="T9" fmla="*/ 1530592 h 15309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0104100" h="1530985">
                <a:moveTo>
                  <a:pt x="0" y="1530592"/>
                </a:moveTo>
                <a:lnTo>
                  <a:pt x="20104099" y="1530592"/>
                </a:lnTo>
                <a:lnTo>
                  <a:pt x="20104099" y="0"/>
                </a:lnTo>
                <a:lnTo>
                  <a:pt x="0" y="0"/>
                </a:lnTo>
                <a:lnTo>
                  <a:pt x="0" y="1530592"/>
                </a:lnTo>
                <a:close/>
              </a:path>
            </a:pathLst>
          </a:custGeom>
          <a:solidFill>
            <a:srgbClr val="767B6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en-AU"/>
          </a:p>
        </p:txBody>
      </p:sp>
      <p:sp>
        <p:nvSpPr>
          <p:cNvPr id="5" name="Holder 2">
            <a:extLst>
              <a:ext uri="{FF2B5EF4-FFF2-40B4-BE49-F238E27FC236}">
                <a16:creationId xmlns:a16="http://schemas.microsoft.com/office/drawing/2014/main" id="{8E8A9A44-4CD0-09B6-0702-379807FE77A7}"/>
              </a:ext>
            </a:extLst>
          </p:cNvPr>
          <p:cNvSpPr txBox="1">
            <a:spLocks/>
          </p:cNvSpPr>
          <p:nvPr userDrawn="1"/>
        </p:nvSpPr>
        <p:spPr>
          <a:xfrm>
            <a:off x="3956050" y="606425"/>
            <a:ext cx="10163175" cy="400050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>
            <a:lvl1pPr>
              <a:defRPr sz="2600" b="1" i="0">
                <a:solidFill>
                  <a:schemeClr val="bg1"/>
                </a:solidFill>
                <a:latin typeface="Helvetica" pitchFamily="2" charset="0"/>
                <a:ea typeface="+mj-ea"/>
                <a:cs typeface="Helvetica Neue"/>
              </a:defRPr>
            </a:lvl1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it-IT" b="0" kern="0" spc="300" dirty="0">
                <a:latin typeface="Helvetica Light" panose="020B0403020202020204" pitchFamily="34" charset="0"/>
              </a:rPr>
              <a:t>COLLECTION</a:t>
            </a:r>
          </a:p>
        </p:txBody>
      </p:sp>
      <p:sp>
        <p:nvSpPr>
          <p:cNvPr id="6" name="Holder 2">
            <a:extLst>
              <a:ext uri="{FF2B5EF4-FFF2-40B4-BE49-F238E27FC236}">
                <a16:creationId xmlns:a16="http://schemas.microsoft.com/office/drawing/2014/main" id="{68BDE7FB-9ABF-45A5-C0D3-180292D98D10}"/>
              </a:ext>
            </a:extLst>
          </p:cNvPr>
          <p:cNvSpPr txBox="1">
            <a:spLocks/>
          </p:cNvSpPr>
          <p:nvPr userDrawn="1"/>
        </p:nvSpPr>
        <p:spPr>
          <a:xfrm>
            <a:off x="679450" y="606425"/>
            <a:ext cx="3505200" cy="400050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>
            <a:lvl1pPr>
              <a:defRPr sz="2600" b="1" i="0">
                <a:solidFill>
                  <a:schemeClr val="bg1"/>
                </a:solidFill>
                <a:latin typeface="Helvetica" pitchFamily="2" charset="0"/>
                <a:ea typeface="+mj-ea"/>
                <a:cs typeface="Helvetica Neue"/>
              </a:defRPr>
            </a:lvl1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it-IT" spc="600" dirty="0"/>
              <a:t>CAMPERVANS</a:t>
            </a:r>
            <a:endParaRPr lang="it-IT" kern="0" spc="600" dirty="0"/>
          </a:p>
        </p:txBody>
      </p:sp>
      <p:sp>
        <p:nvSpPr>
          <p:cNvPr id="7" name="object 2">
            <a:extLst>
              <a:ext uri="{FF2B5EF4-FFF2-40B4-BE49-F238E27FC236}">
                <a16:creationId xmlns:a16="http://schemas.microsoft.com/office/drawing/2014/main" id="{23CDA995-6064-9727-50DF-5EDFAADE7B0F}"/>
              </a:ext>
            </a:extLst>
          </p:cNvPr>
          <p:cNvSpPr>
            <a:spLocks/>
          </p:cNvSpPr>
          <p:nvPr userDrawn="1"/>
        </p:nvSpPr>
        <p:spPr bwMode="auto">
          <a:xfrm>
            <a:off x="16451263" y="663575"/>
            <a:ext cx="3090862" cy="254000"/>
          </a:xfrm>
          <a:custGeom>
            <a:avLst/>
            <a:gdLst>
              <a:gd name="T0" fmla="*/ 343852 w 3090544"/>
              <a:gd name="T1" fmla="*/ 175133 h 253365"/>
              <a:gd name="T2" fmla="*/ 293979 w 3090544"/>
              <a:gd name="T3" fmla="*/ 165417 h 253365"/>
              <a:gd name="T4" fmla="*/ 266420 w 3090544"/>
              <a:gd name="T5" fmla="*/ 207365 h 253365"/>
              <a:gd name="T6" fmla="*/ 293979 w 3090544"/>
              <a:gd name="T7" fmla="*/ 249301 h 253365"/>
              <a:gd name="T8" fmla="*/ 343852 w 3090544"/>
              <a:gd name="T9" fmla="*/ 239534 h 253365"/>
              <a:gd name="T10" fmla="*/ 622452 w 3090544"/>
              <a:gd name="T11" fmla="*/ 246989 h 253365"/>
              <a:gd name="T12" fmla="*/ 413931 w 3090544"/>
              <a:gd name="T13" fmla="*/ 7061 h 253365"/>
              <a:gd name="T14" fmla="*/ 75628 w 3090544"/>
              <a:gd name="T15" fmla="*/ 9728 h 253365"/>
              <a:gd name="T16" fmla="*/ 0 w 3090544"/>
              <a:gd name="T17" fmla="*/ 123494 h 253365"/>
              <a:gd name="T18" fmla="*/ 75628 w 3090544"/>
              <a:gd name="T19" fmla="*/ 237286 h 253365"/>
              <a:gd name="T20" fmla="*/ 238823 w 3090544"/>
              <a:gd name="T21" fmla="*/ 203530 h 253365"/>
              <a:gd name="T22" fmla="*/ 164350 w 3090544"/>
              <a:gd name="T23" fmla="*/ 153962 h 253365"/>
              <a:gd name="T24" fmla="*/ 181749 w 3090544"/>
              <a:gd name="T25" fmla="*/ 65608 h 253365"/>
              <a:gd name="T26" fmla="*/ 258483 w 3090544"/>
              <a:gd name="T27" fmla="*/ 44411 h 253365"/>
              <a:gd name="T28" fmla="*/ 303085 w 3090544"/>
              <a:gd name="T29" fmla="*/ 74142 h 253365"/>
              <a:gd name="T30" fmla="*/ 1268044 w 3090544"/>
              <a:gd name="T31" fmla="*/ 248894 h 253365"/>
              <a:gd name="T32" fmla="*/ 1146378 w 3090544"/>
              <a:gd name="T33" fmla="*/ 92595 h 253365"/>
              <a:gd name="T34" fmla="*/ 1023289 w 3090544"/>
              <a:gd name="T35" fmla="*/ 174459 h 253365"/>
              <a:gd name="T36" fmla="*/ 1023289 w 3090544"/>
              <a:gd name="T37" fmla="*/ 174459 h 253365"/>
              <a:gd name="T38" fmla="*/ 906818 w 3090544"/>
              <a:gd name="T39" fmla="*/ 52743 h 253365"/>
              <a:gd name="T40" fmla="*/ 864831 w 3090544"/>
              <a:gd name="T41" fmla="*/ 218249 h 253365"/>
              <a:gd name="T42" fmla="*/ 1268044 w 3090544"/>
              <a:gd name="T43" fmla="*/ 248894 h 253365"/>
              <a:gd name="T44" fmla="*/ 1706829 w 3090544"/>
              <a:gd name="T45" fmla="*/ 43764 h 253365"/>
              <a:gd name="T46" fmla="*/ 1585315 w 3090544"/>
              <a:gd name="T47" fmla="*/ 2298 h 253365"/>
              <a:gd name="T48" fmla="*/ 1564487 w 3090544"/>
              <a:gd name="T49" fmla="*/ 183870 h 253365"/>
              <a:gd name="T50" fmla="*/ 1458353 w 3090544"/>
              <a:gd name="T51" fmla="*/ 205105 h 253365"/>
              <a:gd name="T52" fmla="*/ 1538414 w 3090544"/>
              <a:gd name="T53" fmla="*/ 49377 h 253365"/>
              <a:gd name="T54" fmla="*/ 1585315 w 3090544"/>
              <a:gd name="T55" fmla="*/ 124942 h 253365"/>
              <a:gd name="T56" fmla="*/ 1301597 w 3090544"/>
              <a:gd name="T57" fmla="*/ 0 h 253365"/>
              <a:gd name="T58" fmla="*/ 1604314 w 3090544"/>
              <a:gd name="T59" fmla="*/ 245668 h 253365"/>
              <a:gd name="T60" fmla="*/ 1735251 w 3090544"/>
              <a:gd name="T61" fmla="*/ 164058 h 253365"/>
              <a:gd name="T62" fmla="*/ 2206523 w 3090544"/>
              <a:gd name="T63" fmla="*/ 157530 h 253365"/>
              <a:gd name="T64" fmla="*/ 2261095 w 3090544"/>
              <a:gd name="T65" fmla="*/ 106921 h 253365"/>
              <a:gd name="T66" fmla="*/ 2252942 w 3090544"/>
              <a:gd name="T67" fmla="*/ 43802 h 253365"/>
              <a:gd name="T68" fmla="*/ 2154047 w 3090544"/>
              <a:gd name="T69" fmla="*/ 0 h 253365"/>
              <a:gd name="T70" fmla="*/ 1977072 w 3090544"/>
              <a:gd name="T71" fmla="*/ 248894 h 253365"/>
              <a:gd name="T72" fmla="*/ 2073948 w 3090544"/>
              <a:gd name="T73" fmla="*/ 47777 h 253365"/>
              <a:gd name="T74" fmla="*/ 2104517 w 3090544"/>
              <a:gd name="T75" fmla="*/ 89331 h 253365"/>
              <a:gd name="T76" fmla="*/ 2063915 w 3090544"/>
              <a:gd name="T77" fmla="*/ 136613 h 253365"/>
              <a:gd name="T78" fmla="*/ 2081834 w 3090544"/>
              <a:gd name="T79" fmla="*/ 248894 h 253365"/>
              <a:gd name="T80" fmla="*/ 2366886 w 3090544"/>
              <a:gd name="T81" fmla="*/ 12 h 253365"/>
              <a:gd name="T82" fmla="*/ 2523629 w 3090544"/>
              <a:gd name="T83" fmla="*/ 12 h 253365"/>
              <a:gd name="T84" fmla="*/ 3032163 w 3090544"/>
              <a:gd name="T85" fmla="*/ 174459 h 253365"/>
              <a:gd name="T86" fmla="*/ 2845473 w 3090544"/>
              <a:gd name="T87" fmla="*/ 0 h 253365"/>
              <a:gd name="T88" fmla="*/ 2782201 w 3090544"/>
              <a:gd name="T89" fmla="*/ 92595 h 253365"/>
              <a:gd name="T90" fmla="*/ 2688132 w 3090544"/>
              <a:gd name="T91" fmla="*/ 0 h 253365"/>
              <a:gd name="T92" fmla="*/ 2661729 w 3090544"/>
              <a:gd name="T93" fmla="*/ 248894 h 253365"/>
              <a:gd name="T94" fmla="*/ 2902902 w 3090544"/>
              <a:gd name="T95" fmla="*/ 248894 h 25336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3090544" h="253365">
                <a:moveTo>
                  <a:pt x="357009" y="207365"/>
                </a:moveTo>
                <a:lnTo>
                  <a:pt x="353491" y="189585"/>
                </a:lnTo>
                <a:lnTo>
                  <a:pt x="343852" y="175133"/>
                </a:lnTo>
                <a:lnTo>
                  <a:pt x="329476" y="165417"/>
                </a:lnTo>
                <a:lnTo>
                  <a:pt x="311746" y="161861"/>
                </a:lnTo>
                <a:lnTo>
                  <a:pt x="293979" y="165417"/>
                </a:lnTo>
                <a:lnTo>
                  <a:pt x="279577" y="175133"/>
                </a:lnTo>
                <a:lnTo>
                  <a:pt x="269938" y="189585"/>
                </a:lnTo>
                <a:lnTo>
                  <a:pt x="266420" y="207365"/>
                </a:lnTo>
                <a:lnTo>
                  <a:pt x="269938" y="225056"/>
                </a:lnTo>
                <a:lnTo>
                  <a:pt x="279577" y="239534"/>
                </a:lnTo>
                <a:lnTo>
                  <a:pt x="293979" y="249301"/>
                </a:lnTo>
                <a:lnTo>
                  <a:pt x="311746" y="252895"/>
                </a:lnTo>
                <a:lnTo>
                  <a:pt x="329476" y="249301"/>
                </a:lnTo>
                <a:lnTo>
                  <a:pt x="343852" y="239534"/>
                </a:lnTo>
                <a:lnTo>
                  <a:pt x="353491" y="225056"/>
                </a:lnTo>
                <a:lnTo>
                  <a:pt x="357009" y="207365"/>
                </a:lnTo>
                <a:close/>
              </a:path>
              <a:path w="3090544" h="253365">
                <a:moveTo>
                  <a:pt x="622452" y="246989"/>
                </a:moveTo>
                <a:lnTo>
                  <a:pt x="493928" y="81991"/>
                </a:lnTo>
                <a:lnTo>
                  <a:pt x="469874" y="51904"/>
                </a:lnTo>
                <a:lnTo>
                  <a:pt x="413931" y="7061"/>
                </a:lnTo>
                <a:lnTo>
                  <a:pt x="377621" y="12"/>
                </a:lnTo>
                <a:lnTo>
                  <a:pt x="123710" y="12"/>
                </a:lnTo>
                <a:lnTo>
                  <a:pt x="75628" y="9728"/>
                </a:lnTo>
                <a:lnTo>
                  <a:pt x="36296" y="36195"/>
                </a:lnTo>
                <a:lnTo>
                  <a:pt x="9740" y="75450"/>
                </a:lnTo>
                <a:lnTo>
                  <a:pt x="0" y="123494"/>
                </a:lnTo>
                <a:lnTo>
                  <a:pt x="9740" y="171564"/>
                </a:lnTo>
                <a:lnTo>
                  <a:pt x="36296" y="210820"/>
                </a:lnTo>
                <a:lnTo>
                  <a:pt x="75628" y="237286"/>
                </a:lnTo>
                <a:lnTo>
                  <a:pt x="123710" y="246989"/>
                </a:lnTo>
                <a:lnTo>
                  <a:pt x="238823" y="246989"/>
                </a:lnTo>
                <a:lnTo>
                  <a:pt x="238823" y="203530"/>
                </a:lnTo>
                <a:lnTo>
                  <a:pt x="207429" y="197129"/>
                </a:lnTo>
                <a:lnTo>
                  <a:pt x="181724" y="179705"/>
                </a:lnTo>
                <a:lnTo>
                  <a:pt x="164350" y="153962"/>
                </a:lnTo>
                <a:lnTo>
                  <a:pt x="157975" y="122542"/>
                </a:lnTo>
                <a:lnTo>
                  <a:pt x="164363" y="91198"/>
                </a:lnTo>
                <a:lnTo>
                  <a:pt x="181749" y="65608"/>
                </a:lnTo>
                <a:lnTo>
                  <a:pt x="207530" y="48361"/>
                </a:lnTo>
                <a:lnTo>
                  <a:pt x="239064" y="42037"/>
                </a:lnTo>
                <a:lnTo>
                  <a:pt x="258483" y="44411"/>
                </a:lnTo>
                <a:lnTo>
                  <a:pt x="275844" y="51041"/>
                </a:lnTo>
                <a:lnTo>
                  <a:pt x="290817" y="61201"/>
                </a:lnTo>
                <a:lnTo>
                  <a:pt x="303085" y="74142"/>
                </a:lnTo>
                <a:lnTo>
                  <a:pt x="436664" y="246989"/>
                </a:lnTo>
                <a:lnTo>
                  <a:pt x="622452" y="246989"/>
                </a:lnTo>
                <a:close/>
              </a:path>
              <a:path w="3090544" h="253365">
                <a:moveTo>
                  <a:pt x="1268044" y="248894"/>
                </a:moveTo>
                <a:lnTo>
                  <a:pt x="1244193" y="218249"/>
                </a:lnTo>
                <a:lnTo>
                  <a:pt x="1210106" y="174459"/>
                </a:lnTo>
                <a:lnTo>
                  <a:pt x="1146378" y="92595"/>
                </a:lnTo>
                <a:lnTo>
                  <a:pt x="1074293" y="0"/>
                </a:lnTo>
                <a:lnTo>
                  <a:pt x="1023289" y="0"/>
                </a:lnTo>
                <a:lnTo>
                  <a:pt x="1023289" y="174459"/>
                </a:lnTo>
                <a:lnTo>
                  <a:pt x="894892" y="174459"/>
                </a:lnTo>
                <a:lnTo>
                  <a:pt x="960107" y="92595"/>
                </a:lnTo>
                <a:lnTo>
                  <a:pt x="1023289" y="174459"/>
                </a:lnTo>
                <a:lnTo>
                  <a:pt x="1023289" y="0"/>
                </a:lnTo>
                <a:lnTo>
                  <a:pt x="866051" y="0"/>
                </a:lnTo>
                <a:lnTo>
                  <a:pt x="906818" y="52743"/>
                </a:lnTo>
                <a:lnTo>
                  <a:pt x="746315" y="248894"/>
                </a:lnTo>
                <a:lnTo>
                  <a:pt x="839660" y="248894"/>
                </a:lnTo>
                <a:lnTo>
                  <a:pt x="864831" y="218249"/>
                </a:lnTo>
                <a:lnTo>
                  <a:pt x="1057160" y="218249"/>
                </a:lnTo>
                <a:lnTo>
                  <a:pt x="1080795" y="248894"/>
                </a:lnTo>
                <a:lnTo>
                  <a:pt x="1268044" y="248894"/>
                </a:lnTo>
                <a:close/>
              </a:path>
              <a:path w="3090544" h="253365">
                <a:moveTo>
                  <a:pt x="1740636" y="125158"/>
                </a:moveTo>
                <a:lnTo>
                  <a:pt x="1735315" y="86347"/>
                </a:lnTo>
                <a:lnTo>
                  <a:pt x="1706829" y="43764"/>
                </a:lnTo>
                <a:lnTo>
                  <a:pt x="1654098" y="13538"/>
                </a:lnTo>
                <a:lnTo>
                  <a:pt x="1604657" y="3365"/>
                </a:lnTo>
                <a:lnTo>
                  <a:pt x="1585315" y="2298"/>
                </a:lnTo>
                <a:lnTo>
                  <a:pt x="1585315" y="124942"/>
                </a:lnTo>
                <a:lnTo>
                  <a:pt x="1580108" y="158673"/>
                </a:lnTo>
                <a:lnTo>
                  <a:pt x="1564487" y="183870"/>
                </a:lnTo>
                <a:lnTo>
                  <a:pt x="1538516" y="199644"/>
                </a:lnTo>
                <a:lnTo>
                  <a:pt x="1502232" y="205105"/>
                </a:lnTo>
                <a:lnTo>
                  <a:pt x="1458353" y="205105"/>
                </a:lnTo>
                <a:lnTo>
                  <a:pt x="1458353" y="43764"/>
                </a:lnTo>
                <a:lnTo>
                  <a:pt x="1502232" y="43764"/>
                </a:lnTo>
                <a:lnTo>
                  <a:pt x="1538414" y="49377"/>
                </a:lnTo>
                <a:lnTo>
                  <a:pt x="1564398" y="65506"/>
                </a:lnTo>
                <a:lnTo>
                  <a:pt x="1580070" y="91059"/>
                </a:lnTo>
                <a:lnTo>
                  <a:pt x="1585315" y="124942"/>
                </a:lnTo>
                <a:lnTo>
                  <a:pt x="1585315" y="2298"/>
                </a:lnTo>
                <a:lnTo>
                  <a:pt x="1543723" y="0"/>
                </a:lnTo>
                <a:lnTo>
                  <a:pt x="1301597" y="0"/>
                </a:lnTo>
                <a:lnTo>
                  <a:pt x="1301597" y="248894"/>
                </a:lnTo>
                <a:lnTo>
                  <a:pt x="1543723" y="248894"/>
                </a:lnTo>
                <a:lnTo>
                  <a:pt x="1604314" y="245668"/>
                </a:lnTo>
                <a:lnTo>
                  <a:pt x="1653654" y="235839"/>
                </a:lnTo>
                <a:lnTo>
                  <a:pt x="1691855" y="219138"/>
                </a:lnTo>
                <a:lnTo>
                  <a:pt x="1735251" y="164058"/>
                </a:lnTo>
                <a:lnTo>
                  <a:pt x="1740636" y="125158"/>
                </a:lnTo>
                <a:close/>
              </a:path>
              <a:path w="3090544" h="253365">
                <a:moveTo>
                  <a:pt x="2277529" y="248894"/>
                </a:moveTo>
                <a:lnTo>
                  <a:pt x="2206523" y="157530"/>
                </a:lnTo>
                <a:lnTo>
                  <a:pt x="2231339" y="145008"/>
                </a:lnTo>
                <a:lnTo>
                  <a:pt x="2249703" y="127965"/>
                </a:lnTo>
                <a:lnTo>
                  <a:pt x="2261095" y="106921"/>
                </a:lnTo>
                <a:lnTo>
                  <a:pt x="2265019" y="82397"/>
                </a:lnTo>
                <a:lnTo>
                  <a:pt x="2258149" y="50393"/>
                </a:lnTo>
                <a:lnTo>
                  <a:pt x="2252942" y="43802"/>
                </a:lnTo>
                <a:lnTo>
                  <a:pt x="2237448" y="24193"/>
                </a:lnTo>
                <a:lnTo>
                  <a:pt x="2202789" y="6502"/>
                </a:lnTo>
                <a:lnTo>
                  <a:pt x="2154047" y="0"/>
                </a:lnTo>
                <a:lnTo>
                  <a:pt x="1820545" y="0"/>
                </a:lnTo>
                <a:lnTo>
                  <a:pt x="1820545" y="248894"/>
                </a:lnTo>
                <a:lnTo>
                  <a:pt x="1977072" y="248894"/>
                </a:lnTo>
                <a:lnTo>
                  <a:pt x="1977072" y="43802"/>
                </a:lnTo>
                <a:lnTo>
                  <a:pt x="2047989" y="43802"/>
                </a:lnTo>
                <a:lnTo>
                  <a:pt x="2073948" y="47777"/>
                </a:lnTo>
                <a:lnTo>
                  <a:pt x="2091486" y="58178"/>
                </a:lnTo>
                <a:lnTo>
                  <a:pt x="2101392" y="72783"/>
                </a:lnTo>
                <a:lnTo>
                  <a:pt x="2104517" y="89331"/>
                </a:lnTo>
                <a:lnTo>
                  <a:pt x="2098624" y="111201"/>
                </a:lnTo>
                <a:lnTo>
                  <a:pt x="2083714" y="127012"/>
                </a:lnTo>
                <a:lnTo>
                  <a:pt x="2063915" y="136613"/>
                </a:lnTo>
                <a:lnTo>
                  <a:pt x="2043353" y="139852"/>
                </a:lnTo>
                <a:lnTo>
                  <a:pt x="2022157" y="139852"/>
                </a:lnTo>
                <a:lnTo>
                  <a:pt x="2081834" y="248894"/>
                </a:lnTo>
                <a:lnTo>
                  <a:pt x="2277529" y="248894"/>
                </a:lnTo>
                <a:close/>
              </a:path>
              <a:path w="3090544" h="253365">
                <a:moveTo>
                  <a:pt x="2523629" y="12"/>
                </a:moveTo>
                <a:lnTo>
                  <a:pt x="2366886" y="12"/>
                </a:lnTo>
                <a:lnTo>
                  <a:pt x="2366886" y="248894"/>
                </a:lnTo>
                <a:lnTo>
                  <a:pt x="2523629" y="248894"/>
                </a:lnTo>
                <a:lnTo>
                  <a:pt x="2523629" y="12"/>
                </a:lnTo>
                <a:close/>
              </a:path>
              <a:path w="3090544" h="253365">
                <a:moveTo>
                  <a:pt x="3090049" y="248894"/>
                </a:moveTo>
                <a:lnTo>
                  <a:pt x="3066224" y="218249"/>
                </a:lnTo>
                <a:lnTo>
                  <a:pt x="3032163" y="174459"/>
                </a:lnTo>
                <a:lnTo>
                  <a:pt x="2968498" y="92595"/>
                </a:lnTo>
                <a:lnTo>
                  <a:pt x="2896476" y="0"/>
                </a:lnTo>
                <a:lnTo>
                  <a:pt x="2845473" y="0"/>
                </a:lnTo>
                <a:lnTo>
                  <a:pt x="2845473" y="174459"/>
                </a:lnTo>
                <a:lnTo>
                  <a:pt x="2716720" y="174459"/>
                </a:lnTo>
                <a:lnTo>
                  <a:pt x="2782201" y="92595"/>
                </a:lnTo>
                <a:lnTo>
                  <a:pt x="2845473" y="174459"/>
                </a:lnTo>
                <a:lnTo>
                  <a:pt x="2845473" y="0"/>
                </a:lnTo>
                <a:lnTo>
                  <a:pt x="2688132" y="0"/>
                </a:lnTo>
                <a:lnTo>
                  <a:pt x="2728988" y="52743"/>
                </a:lnTo>
                <a:lnTo>
                  <a:pt x="2568397" y="248894"/>
                </a:lnTo>
                <a:lnTo>
                  <a:pt x="2661729" y="248894"/>
                </a:lnTo>
                <a:lnTo>
                  <a:pt x="2686913" y="218249"/>
                </a:lnTo>
                <a:lnTo>
                  <a:pt x="2879267" y="218249"/>
                </a:lnTo>
                <a:lnTo>
                  <a:pt x="2902902" y="248894"/>
                </a:lnTo>
                <a:lnTo>
                  <a:pt x="3090049" y="248894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en-AU"/>
          </a:p>
        </p:txBody>
      </p:sp>
      <p:sp>
        <p:nvSpPr>
          <p:cNvPr id="8" name="object 2">
            <a:extLst>
              <a:ext uri="{FF2B5EF4-FFF2-40B4-BE49-F238E27FC236}">
                <a16:creationId xmlns:a16="http://schemas.microsoft.com/office/drawing/2014/main" id="{D7099F31-FCF5-F07B-A644-32AD2D094D1A}"/>
              </a:ext>
            </a:extLst>
          </p:cNvPr>
          <p:cNvSpPr txBox="1"/>
          <p:nvPr userDrawn="1"/>
        </p:nvSpPr>
        <p:spPr>
          <a:xfrm>
            <a:off x="7143750" y="1758950"/>
            <a:ext cx="5816600" cy="1133475"/>
          </a:xfrm>
          <a:prstGeom prst="rect">
            <a:avLst/>
          </a:prstGeom>
        </p:spPr>
        <p:txBody>
          <a:bodyPr lIns="0" tIns="89535" rIns="0" bIns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it-IT" sz="2400" b="1" spc="300" dirty="0">
                <a:latin typeface="Helvetica Neue" panose="02000503000000020004" pitchFamily="2" charset="0"/>
              </a:rPr>
              <a:t>DESIGNED FOR LIVING</a:t>
            </a:r>
            <a:endParaRPr lang="it-IT" sz="2400" spc="300" dirty="0">
              <a:latin typeface="Helvetica Neue" panose="02000503000000020004" pitchFamily="2" charset="0"/>
            </a:endParaRPr>
          </a:p>
          <a:p>
            <a:pPr algn="ctr" eaLnBrk="1" fontAlgn="auto" hangingPunct="1">
              <a:spcBef>
                <a:spcPts val="975"/>
              </a:spcBef>
              <a:spcAft>
                <a:spcPts val="0"/>
              </a:spcAft>
              <a:defRPr/>
            </a:pPr>
            <a:r>
              <a:rPr lang="it-IT" sz="3550" b="1" spc="300" dirty="0">
                <a:solidFill>
                  <a:srgbClr val="666666"/>
                </a:solidFill>
                <a:latin typeface="Helvetica Neue"/>
                <a:cs typeface="Helvetica Neue"/>
              </a:rPr>
              <a:t>INTERIOR</a:t>
            </a:r>
            <a:endParaRPr lang="it-IT" sz="3550" spc="300" dirty="0">
              <a:latin typeface="Helvetica Neue"/>
              <a:cs typeface="Helvetica Neue"/>
            </a:endParaRPr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6284172" y="3401226"/>
            <a:ext cx="12310745" cy="7225030"/>
          </a:xfrm>
          <a:prstGeom prst="rect">
            <a:avLst/>
          </a:prstGeom>
          <a:solidFill>
            <a:srgbClr val="E5E5E5"/>
          </a:solidFill>
        </p:spPr>
        <p:txBody>
          <a:bodyPr/>
          <a:lstStyle>
            <a:lvl1pPr>
              <a:defRPr/>
            </a:lvl1pPr>
          </a:lstStyle>
          <a:p>
            <a:endParaRPr dirty="0"/>
          </a:p>
        </p:txBody>
      </p:sp>
      <p:sp>
        <p:nvSpPr>
          <p:cNvPr id="13" name="Holder 2"/>
          <p:cNvSpPr>
            <a:spLocks noGrp="1"/>
          </p:cNvSpPr>
          <p:nvPr>
            <p:ph type="ctrTitle"/>
          </p:nvPr>
        </p:nvSpPr>
        <p:spPr>
          <a:xfrm>
            <a:off x="1534064" y="3368675"/>
            <a:ext cx="4022186" cy="9144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600" b="1" i="0" u="sng">
                <a:latin typeface="Helvetica" pitchFamily="2" charset="0"/>
              </a:defRPr>
            </a:lvl1pPr>
          </a:lstStyle>
          <a:p>
            <a:endParaRPr lang="it-IT" dirty="0"/>
          </a:p>
        </p:txBody>
      </p:sp>
      <p:sp>
        <p:nvSpPr>
          <p:cNvPr id="14" name="Holder 3"/>
          <p:cNvSpPr>
            <a:spLocks noGrp="1"/>
          </p:cNvSpPr>
          <p:nvPr>
            <p:ph type="subTitle" idx="4"/>
          </p:nvPr>
        </p:nvSpPr>
        <p:spPr>
          <a:xfrm>
            <a:off x="1534064" y="4384841"/>
            <a:ext cx="4022186" cy="5257800"/>
          </a:xfrm>
          <a:prstGeom prst="rect">
            <a:avLst/>
          </a:prstGeom>
        </p:spPr>
        <p:txBody>
          <a:bodyPr/>
          <a:lstStyle>
            <a:lvl1pPr>
              <a:defRPr sz="2200"/>
            </a:lvl1pPr>
          </a:lstStyle>
          <a:p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308741999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Predmet 1" hidden="1">
            <a:extLst>
              <a:ext uri="{FF2B5EF4-FFF2-40B4-BE49-F238E27FC236}">
                <a16:creationId xmlns:a16="http://schemas.microsoft.com/office/drawing/2014/main" id="{1D2B276D-1E11-B3CB-A776-F1543B70531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3" name="Predmet 1" hidden="1">
                        <a:extLst>
                          <a:ext uri="{FF2B5EF4-FFF2-40B4-BE49-F238E27FC236}">
                            <a16:creationId xmlns:a16="http://schemas.microsoft.com/office/drawing/2014/main" id="{1D2B276D-1E11-B3CB-A776-F1543B70531E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bg object 16">
            <a:extLst>
              <a:ext uri="{FF2B5EF4-FFF2-40B4-BE49-F238E27FC236}">
                <a16:creationId xmlns:a16="http://schemas.microsoft.com/office/drawing/2014/main" id="{F902592C-8357-293D-D679-C0917728013B}"/>
              </a:ext>
            </a:extLst>
          </p:cNvPr>
          <p:cNvSpPr>
            <a:spLocks/>
          </p:cNvSpPr>
          <p:nvPr userDrawn="1"/>
        </p:nvSpPr>
        <p:spPr bwMode="auto">
          <a:xfrm>
            <a:off x="0" y="15875"/>
            <a:ext cx="20104100" cy="1530350"/>
          </a:xfrm>
          <a:custGeom>
            <a:avLst/>
            <a:gdLst>
              <a:gd name="T0" fmla="*/ 0 w 20104100"/>
              <a:gd name="T1" fmla="*/ 1530592 h 1530985"/>
              <a:gd name="T2" fmla="*/ 20104099 w 20104100"/>
              <a:gd name="T3" fmla="*/ 1530592 h 1530985"/>
              <a:gd name="T4" fmla="*/ 20104099 w 20104100"/>
              <a:gd name="T5" fmla="*/ 0 h 1530985"/>
              <a:gd name="T6" fmla="*/ 0 w 20104100"/>
              <a:gd name="T7" fmla="*/ 0 h 1530985"/>
              <a:gd name="T8" fmla="*/ 0 w 20104100"/>
              <a:gd name="T9" fmla="*/ 1530592 h 15309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0104100" h="1530985">
                <a:moveTo>
                  <a:pt x="0" y="1530592"/>
                </a:moveTo>
                <a:lnTo>
                  <a:pt x="20104099" y="1530592"/>
                </a:lnTo>
                <a:lnTo>
                  <a:pt x="20104099" y="0"/>
                </a:lnTo>
                <a:lnTo>
                  <a:pt x="0" y="0"/>
                </a:lnTo>
                <a:lnTo>
                  <a:pt x="0" y="1530592"/>
                </a:lnTo>
                <a:close/>
              </a:path>
            </a:pathLst>
          </a:custGeom>
          <a:solidFill>
            <a:srgbClr val="767B6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en-AU"/>
          </a:p>
        </p:txBody>
      </p:sp>
      <p:sp>
        <p:nvSpPr>
          <p:cNvPr id="5" name="Holder 2">
            <a:extLst>
              <a:ext uri="{FF2B5EF4-FFF2-40B4-BE49-F238E27FC236}">
                <a16:creationId xmlns:a16="http://schemas.microsoft.com/office/drawing/2014/main" id="{6BEF5413-AC4E-CDF4-4B7D-D113E649474F}"/>
              </a:ext>
            </a:extLst>
          </p:cNvPr>
          <p:cNvSpPr txBox="1">
            <a:spLocks/>
          </p:cNvSpPr>
          <p:nvPr userDrawn="1"/>
        </p:nvSpPr>
        <p:spPr>
          <a:xfrm>
            <a:off x="3956050" y="606425"/>
            <a:ext cx="10163175" cy="400050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>
            <a:lvl1pPr>
              <a:defRPr sz="2600" b="1" i="0">
                <a:solidFill>
                  <a:schemeClr val="bg1"/>
                </a:solidFill>
                <a:latin typeface="Helvetica" pitchFamily="2" charset="0"/>
                <a:ea typeface="+mj-ea"/>
                <a:cs typeface="Helvetica Neue"/>
              </a:defRPr>
            </a:lvl1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it-IT" b="0" kern="0" spc="300" dirty="0">
                <a:latin typeface="Helvetica Light" panose="020B0403020202020204" pitchFamily="34" charset="0"/>
              </a:rPr>
              <a:t>COLLECTION</a:t>
            </a:r>
          </a:p>
        </p:txBody>
      </p:sp>
      <p:sp>
        <p:nvSpPr>
          <p:cNvPr id="6" name="Holder 2">
            <a:extLst>
              <a:ext uri="{FF2B5EF4-FFF2-40B4-BE49-F238E27FC236}">
                <a16:creationId xmlns:a16="http://schemas.microsoft.com/office/drawing/2014/main" id="{314BB0F5-F2E4-2F6B-60B3-34D621D230F3}"/>
              </a:ext>
            </a:extLst>
          </p:cNvPr>
          <p:cNvSpPr txBox="1">
            <a:spLocks/>
          </p:cNvSpPr>
          <p:nvPr userDrawn="1"/>
        </p:nvSpPr>
        <p:spPr>
          <a:xfrm>
            <a:off x="679450" y="606425"/>
            <a:ext cx="3505200" cy="400050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>
            <a:lvl1pPr>
              <a:defRPr sz="2600" b="1" i="0">
                <a:solidFill>
                  <a:schemeClr val="bg1"/>
                </a:solidFill>
                <a:latin typeface="Helvetica" pitchFamily="2" charset="0"/>
                <a:ea typeface="+mj-ea"/>
                <a:cs typeface="Helvetica Neue"/>
              </a:defRPr>
            </a:lvl1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it-IT" spc="600" dirty="0"/>
              <a:t>CAMPERVANS</a:t>
            </a:r>
            <a:endParaRPr lang="it-IT" kern="0" spc="600" dirty="0"/>
          </a:p>
        </p:txBody>
      </p:sp>
      <p:sp>
        <p:nvSpPr>
          <p:cNvPr id="7" name="object 2">
            <a:extLst>
              <a:ext uri="{FF2B5EF4-FFF2-40B4-BE49-F238E27FC236}">
                <a16:creationId xmlns:a16="http://schemas.microsoft.com/office/drawing/2014/main" id="{7DBE3675-2835-328D-BC42-144CD614B66A}"/>
              </a:ext>
            </a:extLst>
          </p:cNvPr>
          <p:cNvSpPr>
            <a:spLocks/>
          </p:cNvSpPr>
          <p:nvPr userDrawn="1"/>
        </p:nvSpPr>
        <p:spPr bwMode="auto">
          <a:xfrm>
            <a:off x="16451263" y="663575"/>
            <a:ext cx="3090862" cy="254000"/>
          </a:xfrm>
          <a:custGeom>
            <a:avLst/>
            <a:gdLst>
              <a:gd name="T0" fmla="*/ 343852 w 3090544"/>
              <a:gd name="T1" fmla="*/ 175133 h 253365"/>
              <a:gd name="T2" fmla="*/ 293979 w 3090544"/>
              <a:gd name="T3" fmla="*/ 165417 h 253365"/>
              <a:gd name="T4" fmla="*/ 266420 w 3090544"/>
              <a:gd name="T5" fmla="*/ 207365 h 253365"/>
              <a:gd name="T6" fmla="*/ 293979 w 3090544"/>
              <a:gd name="T7" fmla="*/ 249301 h 253365"/>
              <a:gd name="T8" fmla="*/ 343852 w 3090544"/>
              <a:gd name="T9" fmla="*/ 239534 h 253365"/>
              <a:gd name="T10" fmla="*/ 622452 w 3090544"/>
              <a:gd name="T11" fmla="*/ 246989 h 253365"/>
              <a:gd name="T12" fmla="*/ 413931 w 3090544"/>
              <a:gd name="T13" fmla="*/ 7061 h 253365"/>
              <a:gd name="T14" fmla="*/ 75628 w 3090544"/>
              <a:gd name="T15" fmla="*/ 9728 h 253365"/>
              <a:gd name="T16" fmla="*/ 0 w 3090544"/>
              <a:gd name="T17" fmla="*/ 123494 h 253365"/>
              <a:gd name="T18" fmla="*/ 75628 w 3090544"/>
              <a:gd name="T19" fmla="*/ 237286 h 253365"/>
              <a:gd name="T20" fmla="*/ 238823 w 3090544"/>
              <a:gd name="T21" fmla="*/ 203530 h 253365"/>
              <a:gd name="T22" fmla="*/ 164350 w 3090544"/>
              <a:gd name="T23" fmla="*/ 153962 h 253365"/>
              <a:gd name="T24" fmla="*/ 181749 w 3090544"/>
              <a:gd name="T25" fmla="*/ 65608 h 253365"/>
              <a:gd name="T26" fmla="*/ 258483 w 3090544"/>
              <a:gd name="T27" fmla="*/ 44411 h 253365"/>
              <a:gd name="T28" fmla="*/ 303085 w 3090544"/>
              <a:gd name="T29" fmla="*/ 74142 h 253365"/>
              <a:gd name="T30" fmla="*/ 1268044 w 3090544"/>
              <a:gd name="T31" fmla="*/ 248894 h 253365"/>
              <a:gd name="T32" fmla="*/ 1146378 w 3090544"/>
              <a:gd name="T33" fmla="*/ 92595 h 253365"/>
              <a:gd name="T34" fmla="*/ 1023289 w 3090544"/>
              <a:gd name="T35" fmla="*/ 174459 h 253365"/>
              <a:gd name="T36" fmla="*/ 1023289 w 3090544"/>
              <a:gd name="T37" fmla="*/ 174459 h 253365"/>
              <a:gd name="T38" fmla="*/ 906818 w 3090544"/>
              <a:gd name="T39" fmla="*/ 52743 h 253365"/>
              <a:gd name="T40" fmla="*/ 864831 w 3090544"/>
              <a:gd name="T41" fmla="*/ 218249 h 253365"/>
              <a:gd name="T42" fmla="*/ 1268044 w 3090544"/>
              <a:gd name="T43" fmla="*/ 248894 h 253365"/>
              <a:gd name="T44" fmla="*/ 1706829 w 3090544"/>
              <a:gd name="T45" fmla="*/ 43764 h 253365"/>
              <a:gd name="T46" fmla="*/ 1585315 w 3090544"/>
              <a:gd name="T47" fmla="*/ 2298 h 253365"/>
              <a:gd name="T48" fmla="*/ 1564487 w 3090544"/>
              <a:gd name="T49" fmla="*/ 183870 h 253365"/>
              <a:gd name="T50" fmla="*/ 1458353 w 3090544"/>
              <a:gd name="T51" fmla="*/ 205105 h 253365"/>
              <a:gd name="T52" fmla="*/ 1538414 w 3090544"/>
              <a:gd name="T53" fmla="*/ 49377 h 253365"/>
              <a:gd name="T54" fmla="*/ 1585315 w 3090544"/>
              <a:gd name="T55" fmla="*/ 124942 h 253365"/>
              <a:gd name="T56" fmla="*/ 1301597 w 3090544"/>
              <a:gd name="T57" fmla="*/ 0 h 253365"/>
              <a:gd name="T58" fmla="*/ 1604314 w 3090544"/>
              <a:gd name="T59" fmla="*/ 245668 h 253365"/>
              <a:gd name="T60" fmla="*/ 1735251 w 3090544"/>
              <a:gd name="T61" fmla="*/ 164058 h 253365"/>
              <a:gd name="T62" fmla="*/ 2206523 w 3090544"/>
              <a:gd name="T63" fmla="*/ 157530 h 253365"/>
              <a:gd name="T64" fmla="*/ 2261095 w 3090544"/>
              <a:gd name="T65" fmla="*/ 106921 h 253365"/>
              <a:gd name="T66" fmla="*/ 2252942 w 3090544"/>
              <a:gd name="T67" fmla="*/ 43802 h 253365"/>
              <a:gd name="T68" fmla="*/ 2154047 w 3090544"/>
              <a:gd name="T69" fmla="*/ 0 h 253365"/>
              <a:gd name="T70" fmla="*/ 1977072 w 3090544"/>
              <a:gd name="T71" fmla="*/ 248894 h 253365"/>
              <a:gd name="T72" fmla="*/ 2073948 w 3090544"/>
              <a:gd name="T73" fmla="*/ 47777 h 253365"/>
              <a:gd name="T74" fmla="*/ 2104517 w 3090544"/>
              <a:gd name="T75" fmla="*/ 89331 h 253365"/>
              <a:gd name="T76" fmla="*/ 2063915 w 3090544"/>
              <a:gd name="T77" fmla="*/ 136613 h 253365"/>
              <a:gd name="T78" fmla="*/ 2081834 w 3090544"/>
              <a:gd name="T79" fmla="*/ 248894 h 253365"/>
              <a:gd name="T80" fmla="*/ 2366886 w 3090544"/>
              <a:gd name="T81" fmla="*/ 12 h 253365"/>
              <a:gd name="T82" fmla="*/ 2523629 w 3090544"/>
              <a:gd name="T83" fmla="*/ 12 h 253365"/>
              <a:gd name="T84" fmla="*/ 3032163 w 3090544"/>
              <a:gd name="T85" fmla="*/ 174459 h 253365"/>
              <a:gd name="T86" fmla="*/ 2845473 w 3090544"/>
              <a:gd name="T87" fmla="*/ 0 h 253365"/>
              <a:gd name="T88" fmla="*/ 2782201 w 3090544"/>
              <a:gd name="T89" fmla="*/ 92595 h 253365"/>
              <a:gd name="T90" fmla="*/ 2688132 w 3090544"/>
              <a:gd name="T91" fmla="*/ 0 h 253365"/>
              <a:gd name="T92" fmla="*/ 2661729 w 3090544"/>
              <a:gd name="T93" fmla="*/ 248894 h 253365"/>
              <a:gd name="T94" fmla="*/ 2902902 w 3090544"/>
              <a:gd name="T95" fmla="*/ 248894 h 25336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3090544" h="253365">
                <a:moveTo>
                  <a:pt x="357009" y="207365"/>
                </a:moveTo>
                <a:lnTo>
                  <a:pt x="353491" y="189585"/>
                </a:lnTo>
                <a:lnTo>
                  <a:pt x="343852" y="175133"/>
                </a:lnTo>
                <a:lnTo>
                  <a:pt x="329476" y="165417"/>
                </a:lnTo>
                <a:lnTo>
                  <a:pt x="311746" y="161861"/>
                </a:lnTo>
                <a:lnTo>
                  <a:pt x="293979" y="165417"/>
                </a:lnTo>
                <a:lnTo>
                  <a:pt x="279577" y="175133"/>
                </a:lnTo>
                <a:lnTo>
                  <a:pt x="269938" y="189585"/>
                </a:lnTo>
                <a:lnTo>
                  <a:pt x="266420" y="207365"/>
                </a:lnTo>
                <a:lnTo>
                  <a:pt x="269938" y="225056"/>
                </a:lnTo>
                <a:lnTo>
                  <a:pt x="279577" y="239534"/>
                </a:lnTo>
                <a:lnTo>
                  <a:pt x="293979" y="249301"/>
                </a:lnTo>
                <a:lnTo>
                  <a:pt x="311746" y="252895"/>
                </a:lnTo>
                <a:lnTo>
                  <a:pt x="329476" y="249301"/>
                </a:lnTo>
                <a:lnTo>
                  <a:pt x="343852" y="239534"/>
                </a:lnTo>
                <a:lnTo>
                  <a:pt x="353491" y="225056"/>
                </a:lnTo>
                <a:lnTo>
                  <a:pt x="357009" y="207365"/>
                </a:lnTo>
                <a:close/>
              </a:path>
              <a:path w="3090544" h="253365">
                <a:moveTo>
                  <a:pt x="622452" y="246989"/>
                </a:moveTo>
                <a:lnTo>
                  <a:pt x="493928" y="81991"/>
                </a:lnTo>
                <a:lnTo>
                  <a:pt x="469874" y="51904"/>
                </a:lnTo>
                <a:lnTo>
                  <a:pt x="413931" y="7061"/>
                </a:lnTo>
                <a:lnTo>
                  <a:pt x="377621" y="12"/>
                </a:lnTo>
                <a:lnTo>
                  <a:pt x="123710" y="12"/>
                </a:lnTo>
                <a:lnTo>
                  <a:pt x="75628" y="9728"/>
                </a:lnTo>
                <a:lnTo>
                  <a:pt x="36296" y="36195"/>
                </a:lnTo>
                <a:lnTo>
                  <a:pt x="9740" y="75450"/>
                </a:lnTo>
                <a:lnTo>
                  <a:pt x="0" y="123494"/>
                </a:lnTo>
                <a:lnTo>
                  <a:pt x="9740" y="171564"/>
                </a:lnTo>
                <a:lnTo>
                  <a:pt x="36296" y="210820"/>
                </a:lnTo>
                <a:lnTo>
                  <a:pt x="75628" y="237286"/>
                </a:lnTo>
                <a:lnTo>
                  <a:pt x="123710" y="246989"/>
                </a:lnTo>
                <a:lnTo>
                  <a:pt x="238823" y="246989"/>
                </a:lnTo>
                <a:lnTo>
                  <a:pt x="238823" y="203530"/>
                </a:lnTo>
                <a:lnTo>
                  <a:pt x="207429" y="197129"/>
                </a:lnTo>
                <a:lnTo>
                  <a:pt x="181724" y="179705"/>
                </a:lnTo>
                <a:lnTo>
                  <a:pt x="164350" y="153962"/>
                </a:lnTo>
                <a:lnTo>
                  <a:pt x="157975" y="122542"/>
                </a:lnTo>
                <a:lnTo>
                  <a:pt x="164363" y="91198"/>
                </a:lnTo>
                <a:lnTo>
                  <a:pt x="181749" y="65608"/>
                </a:lnTo>
                <a:lnTo>
                  <a:pt x="207530" y="48361"/>
                </a:lnTo>
                <a:lnTo>
                  <a:pt x="239064" y="42037"/>
                </a:lnTo>
                <a:lnTo>
                  <a:pt x="258483" y="44411"/>
                </a:lnTo>
                <a:lnTo>
                  <a:pt x="275844" y="51041"/>
                </a:lnTo>
                <a:lnTo>
                  <a:pt x="290817" y="61201"/>
                </a:lnTo>
                <a:lnTo>
                  <a:pt x="303085" y="74142"/>
                </a:lnTo>
                <a:lnTo>
                  <a:pt x="436664" y="246989"/>
                </a:lnTo>
                <a:lnTo>
                  <a:pt x="622452" y="246989"/>
                </a:lnTo>
                <a:close/>
              </a:path>
              <a:path w="3090544" h="253365">
                <a:moveTo>
                  <a:pt x="1268044" y="248894"/>
                </a:moveTo>
                <a:lnTo>
                  <a:pt x="1244193" y="218249"/>
                </a:lnTo>
                <a:lnTo>
                  <a:pt x="1210106" y="174459"/>
                </a:lnTo>
                <a:lnTo>
                  <a:pt x="1146378" y="92595"/>
                </a:lnTo>
                <a:lnTo>
                  <a:pt x="1074293" y="0"/>
                </a:lnTo>
                <a:lnTo>
                  <a:pt x="1023289" y="0"/>
                </a:lnTo>
                <a:lnTo>
                  <a:pt x="1023289" y="174459"/>
                </a:lnTo>
                <a:lnTo>
                  <a:pt x="894892" y="174459"/>
                </a:lnTo>
                <a:lnTo>
                  <a:pt x="960107" y="92595"/>
                </a:lnTo>
                <a:lnTo>
                  <a:pt x="1023289" y="174459"/>
                </a:lnTo>
                <a:lnTo>
                  <a:pt x="1023289" y="0"/>
                </a:lnTo>
                <a:lnTo>
                  <a:pt x="866051" y="0"/>
                </a:lnTo>
                <a:lnTo>
                  <a:pt x="906818" y="52743"/>
                </a:lnTo>
                <a:lnTo>
                  <a:pt x="746315" y="248894"/>
                </a:lnTo>
                <a:lnTo>
                  <a:pt x="839660" y="248894"/>
                </a:lnTo>
                <a:lnTo>
                  <a:pt x="864831" y="218249"/>
                </a:lnTo>
                <a:lnTo>
                  <a:pt x="1057160" y="218249"/>
                </a:lnTo>
                <a:lnTo>
                  <a:pt x="1080795" y="248894"/>
                </a:lnTo>
                <a:lnTo>
                  <a:pt x="1268044" y="248894"/>
                </a:lnTo>
                <a:close/>
              </a:path>
              <a:path w="3090544" h="253365">
                <a:moveTo>
                  <a:pt x="1740636" y="125158"/>
                </a:moveTo>
                <a:lnTo>
                  <a:pt x="1735315" y="86347"/>
                </a:lnTo>
                <a:lnTo>
                  <a:pt x="1706829" y="43764"/>
                </a:lnTo>
                <a:lnTo>
                  <a:pt x="1654098" y="13538"/>
                </a:lnTo>
                <a:lnTo>
                  <a:pt x="1604657" y="3365"/>
                </a:lnTo>
                <a:lnTo>
                  <a:pt x="1585315" y="2298"/>
                </a:lnTo>
                <a:lnTo>
                  <a:pt x="1585315" y="124942"/>
                </a:lnTo>
                <a:lnTo>
                  <a:pt x="1580108" y="158673"/>
                </a:lnTo>
                <a:lnTo>
                  <a:pt x="1564487" y="183870"/>
                </a:lnTo>
                <a:lnTo>
                  <a:pt x="1538516" y="199644"/>
                </a:lnTo>
                <a:lnTo>
                  <a:pt x="1502232" y="205105"/>
                </a:lnTo>
                <a:lnTo>
                  <a:pt x="1458353" y="205105"/>
                </a:lnTo>
                <a:lnTo>
                  <a:pt x="1458353" y="43764"/>
                </a:lnTo>
                <a:lnTo>
                  <a:pt x="1502232" y="43764"/>
                </a:lnTo>
                <a:lnTo>
                  <a:pt x="1538414" y="49377"/>
                </a:lnTo>
                <a:lnTo>
                  <a:pt x="1564398" y="65506"/>
                </a:lnTo>
                <a:lnTo>
                  <a:pt x="1580070" y="91059"/>
                </a:lnTo>
                <a:lnTo>
                  <a:pt x="1585315" y="124942"/>
                </a:lnTo>
                <a:lnTo>
                  <a:pt x="1585315" y="2298"/>
                </a:lnTo>
                <a:lnTo>
                  <a:pt x="1543723" y="0"/>
                </a:lnTo>
                <a:lnTo>
                  <a:pt x="1301597" y="0"/>
                </a:lnTo>
                <a:lnTo>
                  <a:pt x="1301597" y="248894"/>
                </a:lnTo>
                <a:lnTo>
                  <a:pt x="1543723" y="248894"/>
                </a:lnTo>
                <a:lnTo>
                  <a:pt x="1604314" y="245668"/>
                </a:lnTo>
                <a:lnTo>
                  <a:pt x="1653654" y="235839"/>
                </a:lnTo>
                <a:lnTo>
                  <a:pt x="1691855" y="219138"/>
                </a:lnTo>
                <a:lnTo>
                  <a:pt x="1735251" y="164058"/>
                </a:lnTo>
                <a:lnTo>
                  <a:pt x="1740636" y="125158"/>
                </a:lnTo>
                <a:close/>
              </a:path>
              <a:path w="3090544" h="253365">
                <a:moveTo>
                  <a:pt x="2277529" y="248894"/>
                </a:moveTo>
                <a:lnTo>
                  <a:pt x="2206523" y="157530"/>
                </a:lnTo>
                <a:lnTo>
                  <a:pt x="2231339" y="145008"/>
                </a:lnTo>
                <a:lnTo>
                  <a:pt x="2249703" y="127965"/>
                </a:lnTo>
                <a:lnTo>
                  <a:pt x="2261095" y="106921"/>
                </a:lnTo>
                <a:lnTo>
                  <a:pt x="2265019" y="82397"/>
                </a:lnTo>
                <a:lnTo>
                  <a:pt x="2258149" y="50393"/>
                </a:lnTo>
                <a:lnTo>
                  <a:pt x="2252942" y="43802"/>
                </a:lnTo>
                <a:lnTo>
                  <a:pt x="2237448" y="24193"/>
                </a:lnTo>
                <a:lnTo>
                  <a:pt x="2202789" y="6502"/>
                </a:lnTo>
                <a:lnTo>
                  <a:pt x="2154047" y="0"/>
                </a:lnTo>
                <a:lnTo>
                  <a:pt x="1820545" y="0"/>
                </a:lnTo>
                <a:lnTo>
                  <a:pt x="1820545" y="248894"/>
                </a:lnTo>
                <a:lnTo>
                  <a:pt x="1977072" y="248894"/>
                </a:lnTo>
                <a:lnTo>
                  <a:pt x="1977072" y="43802"/>
                </a:lnTo>
                <a:lnTo>
                  <a:pt x="2047989" y="43802"/>
                </a:lnTo>
                <a:lnTo>
                  <a:pt x="2073948" y="47777"/>
                </a:lnTo>
                <a:lnTo>
                  <a:pt x="2091486" y="58178"/>
                </a:lnTo>
                <a:lnTo>
                  <a:pt x="2101392" y="72783"/>
                </a:lnTo>
                <a:lnTo>
                  <a:pt x="2104517" y="89331"/>
                </a:lnTo>
                <a:lnTo>
                  <a:pt x="2098624" y="111201"/>
                </a:lnTo>
                <a:lnTo>
                  <a:pt x="2083714" y="127012"/>
                </a:lnTo>
                <a:lnTo>
                  <a:pt x="2063915" y="136613"/>
                </a:lnTo>
                <a:lnTo>
                  <a:pt x="2043353" y="139852"/>
                </a:lnTo>
                <a:lnTo>
                  <a:pt x="2022157" y="139852"/>
                </a:lnTo>
                <a:lnTo>
                  <a:pt x="2081834" y="248894"/>
                </a:lnTo>
                <a:lnTo>
                  <a:pt x="2277529" y="248894"/>
                </a:lnTo>
                <a:close/>
              </a:path>
              <a:path w="3090544" h="253365">
                <a:moveTo>
                  <a:pt x="2523629" y="12"/>
                </a:moveTo>
                <a:lnTo>
                  <a:pt x="2366886" y="12"/>
                </a:lnTo>
                <a:lnTo>
                  <a:pt x="2366886" y="248894"/>
                </a:lnTo>
                <a:lnTo>
                  <a:pt x="2523629" y="248894"/>
                </a:lnTo>
                <a:lnTo>
                  <a:pt x="2523629" y="12"/>
                </a:lnTo>
                <a:close/>
              </a:path>
              <a:path w="3090544" h="253365">
                <a:moveTo>
                  <a:pt x="3090049" y="248894"/>
                </a:moveTo>
                <a:lnTo>
                  <a:pt x="3066224" y="218249"/>
                </a:lnTo>
                <a:lnTo>
                  <a:pt x="3032163" y="174459"/>
                </a:lnTo>
                <a:lnTo>
                  <a:pt x="2968498" y="92595"/>
                </a:lnTo>
                <a:lnTo>
                  <a:pt x="2896476" y="0"/>
                </a:lnTo>
                <a:lnTo>
                  <a:pt x="2845473" y="0"/>
                </a:lnTo>
                <a:lnTo>
                  <a:pt x="2845473" y="174459"/>
                </a:lnTo>
                <a:lnTo>
                  <a:pt x="2716720" y="174459"/>
                </a:lnTo>
                <a:lnTo>
                  <a:pt x="2782201" y="92595"/>
                </a:lnTo>
                <a:lnTo>
                  <a:pt x="2845473" y="174459"/>
                </a:lnTo>
                <a:lnTo>
                  <a:pt x="2845473" y="0"/>
                </a:lnTo>
                <a:lnTo>
                  <a:pt x="2688132" y="0"/>
                </a:lnTo>
                <a:lnTo>
                  <a:pt x="2728988" y="52743"/>
                </a:lnTo>
                <a:lnTo>
                  <a:pt x="2568397" y="248894"/>
                </a:lnTo>
                <a:lnTo>
                  <a:pt x="2661729" y="248894"/>
                </a:lnTo>
                <a:lnTo>
                  <a:pt x="2686913" y="218249"/>
                </a:lnTo>
                <a:lnTo>
                  <a:pt x="2879267" y="218249"/>
                </a:lnTo>
                <a:lnTo>
                  <a:pt x="2902902" y="248894"/>
                </a:lnTo>
                <a:lnTo>
                  <a:pt x="3090049" y="248894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en-AU"/>
          </a:p>
        </p:txBody>
      </p:sp>
      <p:sp>
        <p:nvSpPr>
          <p:cNvPr id="10" name="object 2">
            <a:extLst>
              <a:ext uri="{FF2B5EF4-FFF2-40B4-BE49-F238E27FC236}">
                <a16:creationId xmlns:a16="http://schemas.microsoft.com/office/drawing/2014/main" id="{9F9C7B9D-33B5-FA68-25AA-AF0D5C92A855}"/>
              </a:ext>
            </a:extLst>
          </p:cNvPr>
          <p:cNvSpPr txBox="1"/>
          <p:nvPr userDrawn="1"/>
        </p:nvSpPr>
        <p:spPr>
          <a:xfrm>
            <a:off x="7143750" y="1758950"/>
            <a:ext cx="5816600" cy="1133475"/>
          </a:xfrm>
          <a:prstGeom prst="rect">
            <a:avLst/>
          </a:prstGeom>
        </p:spPr>
        <p:txBody>
          <a:bodyPr lIns="0" tIns="89535" rIns="0" bIns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it-IT" sz="2400" b="1" spc="300" dirty="0">
                <a:latin typeface="Helvetica Neue" panose="02000503000000020004" pitchFamily="2" charset="0"/>
              </a:rPr>
              <a:t>DESIGNED FOR LIVING</a:t>
            </a:r>
            <a:endParaRPr lang="it-IT" sz="2400" spc="300" dirty="0">
              <a:latin typeface="Helvetica Neue" panose="02000503000000020004" pitchFamily="2" charset="0"/>
            </a:endParaRPr>
          </a:p>
          <a:p>
            <a:pPr algn="ctr" eaLnBrk="1" fontAlgn="auto" hangingPunct="1">
              <a:spcBef>
                <a:spcPts val="975"/>
              </a:spcBef>
              <a:spcAft>
                <a:spcPts val="0"/>
              </a:spcAft>
              <a:defRPr/>
            </a:pPr>
            <a:r>
              <a:rPr lang="it-IT" sz="3550" b="1" spc="300" dirty="0">
                <a:solidFill>
                  <a:srgbClr val="666666"/>
                </a:solidFill>
                <a:latin typeface="Helvetica Neue"/>
                <a:cs typeface="Helvetica Neue"/>
              </a:rPr>
              <a:t>INTERIOR</a:t>
            </a:r>
            <a:endParaRPr lang="it-IT" sz="3550" spc="300" dirty="0">
              <a:latin typeface="Helvetica Neue"/>
              <a:cs typeface="Helvetica Neue"/>
            </a:endParaRPr>
          </a:p>
        </p:txBody>
      </p:sp>
      <p:sp>
        <p:nvSpPr>
          <p:cNvPr id="13" name="Holder 2"/>
          <p:cNvSpPr>
            <a:spLocks noGrp="1"/>
          </p:cNvSpPr>
          <p:nvPr>
            <p:ph type="ctrTitle"/>
          </p:nvPr>
        </p:nvSpPr>
        <p:spPr>
          <a:xfrm>
            <a:off x="2901201" y="7265323"/>
            <a:ext cx="7031468" cy="9144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600" b="1" i="0" u="sng">
                <a:latin typeface="Helvetica" pitchFamily="2" charset="0"/>
              </a:defRPr>
            </a:lvl1pPr>
          </a:lstStyle>
          <a:p>
            <a:endParaRPr lang="it-IT" dirty="0"/>
          </a:p>
        </p:txBody>
      </p:sp>
      <p:sp>
        <p:nvSpPr>
          <p:cNvPr id="2" name="Holder 4"/>
          <p:cNvSpPr>
            <a:spLocks noGrp="1"/>
          </p:cNvSpPr>
          <p:nvPr>
            <p:ph sz="half" idx="10"/>
          </p:nvPr>
        </p:nvSpPr>
        <p:spPr>
          <a:xfrm>
            <a:off x="10171431" y="3552992"/>
            <a:ext cx="7035060" cy="3522979"/>
          </a:xfrm>
          <a:prstGeom prst="rect">
            <a:avLst/>
          </a:prstGeom>
          <a:solidFill>
            <a:srgbClr val="E5E5E5"/>
          </a:solidFill>
        </p:spPr>
        <p:txBody>
          <a:bodyPr/>
          <a:lstStyle>
            <a:lvl1pPr>
              <a:defRPr/>
            </a:lvl1pPr>
          </a:lstStyle>
          <a:p>
            <a:endParaRPr dirty="0"/>
          </a:p>
        </p:txBody>
      </p:sp>
      <p:sp>
        <p:nvSpPr>
          <p:cNvPr id="8" name="Holder 4"/>
          <p:cNvSpPr>
            <a:spLocks noGrp="1"/>
          </p:cNvSpPr>
          <p:nvPr>
            <p:ph sz="half" idx="11"/>
          </p:nvPr>
        </p:nvSpPr>
        <p:spPr>
          <a:xfrm>
            <a:off x="2901201" y="3552992"/>
            <a:ext cx="7035060" cy="3522979"/>
          </a:xfrm>
          <a:prstGeom prst="rect">
            <a:avLst/>
          </a:prstGeom>
          <a:solidFill>
            <a:srgbClr val="E5E5E5"/>
          </a:solidFill>
        </p:spPr>
        <p:txBody>
          <a:bodyPr/>
          <a:lstStyle>
            <a:lvl1pPr>
              <a:defRPr/>
            </a:lvl1pPr>
          </a:lstStyle>
          <a:p>
            <a:endParaRPr dirty="0"/>
          </a:p>
        </p:txBody>
      </p:sp>
      <p:sp>
        <p:nvSpPr>
          <p:cNvPr id="9" name="Segnaposto testo 43"/>
          <p:cNvSpPr>
            <a:spLocks noGrp="1"/>
          </p:cNvSpPr>
          <p:nvPr>
            <p:ph type="body" sz="quarter" idx="25"/>
          </p:nvPr>
        </p:nvSpPr>
        <p:spPr>
          <a:xfrm>
            <a:off x="10171431" y="7335764"/>
            <a:ext cx="7031468" cy="400110"/>
          </a:xfrm>
        </p:spPr>
        <p:txBody>
          <a:bodyPr/>
          <a:lstStyle>
            <a:lvl1pPr>
              <a:defRPr sz="2600" b="1" i="0" u="sng">
                <a:latin typeface="Helvetica" pitchFamily="2" charset="0"/>
              </a:defRPr>
            </a:lvl1pPr>
            <a:lvl2pPr>
              <a:defRPr sz="2600" b="1" i="0">
                <a:latin typeface="Helvetica" pitchFamily="2" charset="0"/>
              </a:defRPr>
            </a:lvl2pPr>
            <a:lvl3pPr>
              <a:defRPr sz="2600" b="1" i="0">
                <a:latin typeface="Helvetica" pitchFamily="2" charset="0"/>
              </a:defRPr>
            </a:lvl3pPr>
            <a:lvl4pPr>
              <a:defRPr sz="2600" b="1" i="0">
                <a:latin typeface="Helvetica" pitchFamily="2" charset="0"/>
              </a:defRPr>
            </a:lvl4pPr>
            <a:lvl5pPr>
              <a:defRPr sz="2600" b="1" i="0">
                <a:latin typeface="Helvetica" pitchFamily="2" charset="0"/>
              </a:defRPr>
            </a:lvl5pPr>
          </a:lstStyle>
          <a:p>
            <a:pPr lvl="0"/>
            <a:endParaRPr lang="it-IT" dirty="0"/>
          </a:p>
        </p:txBody>
      </p:sp>
      <p:sp>
        <p:nvSpPr>
          <p:cNvPr id="11" name="Segnaposto testo 10"/>
          <p:cNvSpPr>
            <a:spLocks noGrp="1"/>
          </p:cNvSpPr>
          <p:nvPr>
            <p:ph type="body" sz="quarter" idx="26"/>
          </p:nvPr>
        </p:nvSpPr>
        <p:spPr>
          <a:xfrm>
            <a:off x="10171113" y="7864475"/>
            <a:ext cx="7031037" cy="458652"/>
          </a:xfrm>
        </p:spPr>
        <p:txBody>
          <a:bodyPr/>
          <a:lstStyle>
            <a:lvl1pPr marL="342900" indent="-342900">
              <a:lnSpc>
                <a:spcPct val="150000"/>
              </a:lnSpc>
              <a:buFont typeface="Arial" panose="020B0604020202020204" pitchFamily="34" charset="0"/>
              <a:buChar char="•"/>
              <a:defRPr sz="2200" b="0" i="0">
                <a:latin typeface="Helvetica" pitchFamily="2" charset="0"/>
              </a:defRPr>
            </a:lvl1pPr>
            <a:lvl2pPr marL="800100" indent="-342900">
              <a:buFont typeface="Arial" panose="020B0604020202020204" pitchFamily="34" charset="0"/>
              <a:buChar char="•"/>
              <a:defRPr sz="2200" b="0" i="0">
                <a:latin typeface="Helvetica" pitchFamily="2" charset="0"/>
              </a:defRPr>
            </a:lvl2pPr>
            <a:lvl3pPr marL="1257300" indent="-342900">
              <a:buFont typeface="Arial" panose="020B0604020202020204" pitchFamily="34" charset="0"/>
              <a:buChar char="•"/>
              <a:defRPr sz="2200" b="0" i="0">
                <a:latin typeface="Helvetica" pitchFamily="2" charset="0"/>
              </a:defRPr>
            </a:lvl3pPr>
            <a:lvl4pPr marL="1714500" indent="-342900">
              <a:buFont typeface="Arial" panose="020B0604020202020204" pitchFamily="34" charset="0"/>
              <a:buChar char="•"/>
              <a:defRPr sz="2200" b="0" i="0">
                <a:latin typeface="Helvetica" pitchFamily="2" charset="0"/>
              </a:defRPr>
            </a:lvl4pPr>
            <a:lvl5pPr marL="2171700" indent="-342900">
              <a:buFont typeface="Arial" panose="020B0604020202020204" pitchFamily="34" charset="0"/>
              <a:buChar char="•"/>
              <a:defRPr sz="2200" b="0" i="0">
                <a:latin typeface="Helvetica" pitchFamily="2" charset="0"/>
              </a:defRPr>
            </a:lvl5pPr>
          </a:lstStyle>
          <a:p>
            <a:pPr lvl="0"/>
            <a:endParaRPr lang="it-IT" dirty="0"/>
          </a:p>
        </p:txBody>
      </p:sp>
      <p:sp>
        <p:nvSpPr>
          <p:cNvPr id="12" name="Segnaposto testo 10"/>
          <p:cNvSpPr>
            <a:spLocks noGrp="1"/>
          </p:cNvSpPr>
          <p:nvPr>
            <p:ph type="body" sz="quarter" idx="27"/>
          </p:nvPr>
        </p:nvSpPr>
        <p:spPr>
          <a:xfrm>
            <a:off x="2882807" y="7864475"/>
            <a:ext cx="7031037" cy="458652"/>
          </a:xfrm>
        </p:spPr>
        <p:txBody>
          <a:bodyPr/>
          <a:lstStyle>
            <a:lvl1pPr marL="342900" indent="-342900">
              <a:lnSpc>
                <a:spcPct val="150000"/>
              </a:lnSpc>
              <a:buFont typeface="Arial" panose="020B0604020202020204" pitchFamily="34" charset="0"/>
              <a:buChar char="•"/>
              <a:defRPr sz="2200" b="0" i="0">
                <a:latin typeface="Helvetica" pitchFamily="2" charset="0"/>
              </a:defRPr>
            </a:lvl1pPr>
            <a:lvl2pPr marL="800100" indent="-342900">
              <a:buFont typeface="Arial" panose="020B0604020202020204" pitchFamily="34" charset="0"/>
              <a:buChar char="•"/>
              <a:defRPr sz="2200" b="0" i="0">
                <a:latin typeface="Helvetica" pitchFamily="2" charset="0"/>
              </a:defRPr>
            </a:lvl2pPr>
            <a:lvl3pPr marL="1257300" indent="-342900">
              <a:buFont typeface="Arial" panose="020B0604020202020204" pitchFamily="34" charset="0"/>
              <a:buChar char="•"/>
              <a:defRPr sz="2200" b="0" i="0">
                <a:latin typeface="Helvetica" pitchFamily="2" charset="0"/>
              </a:defRPr>
            </a:lvl3pPr>
            <a:lvl4pPr marL="1714500" indent="-342900">
              <a:buFont typeface="Arial" panose="020B0604020202020204" pitchFamily="34" charset="0"/>
              <a:buChar char="•"/>
              <a:defRPr sz="2200" b="0" i="0">
                <a:latin typeface="Helvetica" pitchFamily="2" charset="0"/>
              </a:defRPr>
            </a:lvl4pPr>
            <a:lvl5pPr marL="2171700" indent="-342900">
              <a:buFont typeface="Arial" panose="020B0604020202020204" pitchFamily="34" charset="0"/>
              <a:buChar char="•"/>
              <a:defRPr sz="2200" b="0" i="0">
                <a:latin typeface="Helvetica" pitchFamily="2" charset="0"/>
              </a:defRPr>
            </a:lvl5pPr>
          </a:lstStyle>
          <a:p>
            <a:pPr lvl="0"/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405031030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Predmet 1" hidden="1">
            <a:extLst>
              <a:ext uri="{FF2B5EF4-FFF2-40B4-BE49-F238E27FC236}">
                <a16:creationId xmlns:a16="http://schemas.microsoft.com/office/drawing/2014/main" id="{C7999DB6-DB94-9A91-59B9-707D0F114E7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2" name="Predmet 1" hidden="1">
                        <a:extLst>
                          <a:ext uri="{FF2B5EF4-FFF2-40B4-BE49-F238E27FC236}">
                            <a16:creationId xmlns:a16="http://schemas.microsoft.com/office/drawing/2014/main" id="{C7999DB6-DB94-9A91-59B9-707D0F114E75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bg object 16">
            <a:extLst>
              <a:ext uri="{FF2B5EF4-FFF2-40B4-BE49-F238E27FC236}">
                <a16:creationId xmlns:a16="http://schemas.microsoft.com/office/drawing/2014/main" id="{E8B4DB4A-2ADA-9548-6611-84AF0F210DA2}"/>
              </a:ext>
            </a:extLst>
          </p:cNvPr>
          <p:cNvSpPr>
            <a:spLocks/>
          </p:cNvSpPr>
          <p:nvPr userDrawn="1"/>
        </p:nvSpPr>
        <p:spPr bwMode="auto">
          <a:xfrm>
            <a:off x="0" y="15875"/>
            <a:ext cx="20104100" cy="1530350"/>
          </a:xfrm>
          <a:custGeom>
            <a:avLst/>
            <a:gdLst>
              <a:gd name="T0" fmla="*/ 0 w 20104100"/>
              <a:gd name="T1" fmla="*/ 1530592 h 1530985"/>
              <a:gd name="T2" fmla="*/ 20104099 w 20104100"/>
              <a:gd name="T3" fmla="*/ 1530592 h 1530985"/>
              <a:gd name="T4" fmla="*/ 20104099 w 20104100"/>
              <a:gd name="T5" fmla="*/ 0 h 1530985"/>
              <a:gd name="T6" fmla="*/ 0 w 20104100"/>
              <a:gd name="T7" fmla="*/ 0 h 1530985"/>
              <a:gd name="T8" fmla="*/ 0 w 20104100"/>
              <a:gd name="T9" fmla="*/ 1530592 h 15309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0104100" h="1530985">
                <a:moveTo>
                  <a:pt x="0" y="1530592"/>
                </a:moveTo>
                <a:lnTo>
                  <a:pt x="20104099" y="1530592"/>
                </a:lnTo>
                <a:lnTo>
                  <a:pt x="20104099" y="0"/>
                </a:lnTo>
                <a:lnTo>
                  <a:pt x="0" y="0"/>
                </a:lnTo>
                <a:lnTo>
                  <a:pt x="0" y="1530592"/>
                </a:lnTo>
                <a:close/>
              </a:path>
            </a:pathLst>
          </a:custGeom>
          <a:solidFill>
            <a:srgbClr val="767B6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en-AU"/>
          </a:p>
        </p:txBody>
      </p:sp>
      <p:sp>
        <p:nvSpPr>
          <p:cNvPr id="5" name="Holder 2">
            <a:extLst>
              <a:ext uri="{FF2B5EF4-FFF2-40B4-BE49-F238E27FC236}">
                <a16:creationId xmlns:a16="http://schemas.microsoft.com/office/drawing/2014/main" id="{91381A01-8AC6-C81C-E7BC-AAEC971F063C}"/>
              </a:ext>
            </a:extLst>
          </p:cNvPr>
          <p:cNvSpPr txBox="1">
            <a:spLocks/>
          </p:cNvSpPr>
          <p:nvPr userDrawn="1"/>
        </p:nvSpPr>
        <p:spPr>
          <a:xfrm>
            <a:off x="3956050" y="606425"/>
            <a:ext cx="10163175" cy="400050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>
            <a:lvl1pPr>
              <a:defRPr sz="2600" b="1" i="0">
                <a:solidFill>
                  <a:schemeClr val="bg1"/>
                </a:solidFill>
                <a:latin typeface="Helvetica" pitchFamily="2" charset="0"/>
                <a:ea typeface="+mj-ea"/>
                <a:cs typeface="Helvetica Neue"/>
              </a:defRPr>
            </a:lvl1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it-IT" b="0" kern="0" spc="300" dirty="0">
                <a:latin typeface="Helvetica Light" panose="020B0403020202020204" pitchFamily="34" charset="0"/>
              </a:rPr>
              <a:t>COLLECTION</a:t>
            </a:r>
          </a:p>
        </p:txBody>
      </p:sp>
      <p:sp>
        <p:nvSpPr>
          <p:cNvPr id="6" name="Holder 2">
            <a:extLst>
              <a:ext uri="{FF2B5EF4-FFF2-40B4-BE49-F238E27FC236}">
                <a16:creationId xmlns:a16="http://schemas.microsoft.com/office/drawing/2014/main" id="{853729B0-D054-BBDA-BB8D-4F38EBF8DA7A}"/>
              </a:ext>
            </a:extLst>
          </p:cNvPr>
          <p:cNvSpPr txBox="1">
            <a:spLocks/>
          </p:cNvSpPr>
          <p:nvPr userDrawn="1"/>
        </p:nvSpPr>
        <p:spPr>
          <a:xfrm>
            <a:off x="679450" y="606425"/>
            <a:ext cx="3505200" cy="400050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>
            <a:lvl1pPr>
              <a:defRPr sz="2600" b="1" i="0">
                <a:solidFill>
                  <a:schemeClr val="bg1"/>
                </a:solidFill>
                <a:latin typeface="Helvetica" pitchFamily="2" charset="0"/>
                <a:ea typeface="+mj-ea"/>
                <a:cs typeface="Helvetica Neue"/>
              </a:defRPr>
            </a:lvl1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it-IT" spc="600" dirty="0"/>
              <a:t>CAMPERVANS</a:t>
            </a:r>
            <a:endParaRPr lang="it-IT" kern="0" spc="600" dirty="0"/>
          </a:p>
        </p:txBody>
      </p:sp>
      <p:sp>
        <p:nvSpPr>
          <p:cNvPr id="7" name="object 2">
            <a:extLst>
              <a:ext uri="{FF2B5EF4-FFF2-40B4-BE49-F238E27FC236}">
                <a16:creationId xmlns:a16="http://schemas.microsoft.com/office/drawing/2014/main" id="{744F6BCA-C9B2-4BE1-55D5-F75CB1FD3D22}"/>
              </a:ext>
            </a:extLst>
          </p:cNvPr>
          <p:cNvSpPr>
            <a:spLocks/>
          </p:cNvSpPr>
          <p:nvPr userDrawn="1"/>
        </p:nvSpPr>
        <p:spPr bwMode="auto">
          <a:xfrm>
            <a:off x="16451263" y="663575"/>
            <a:ext cx="3090862" cy="254000"/>
          </a:xfrm>
          <a:custGeom>
            <a:avLst/>
            <a:gdLst>
              <a:gd name="T0" fmla="*/ 343852 w 3090544"/>
              <a:gd name="T1" fmla="*/ 175133 h 253365"/>
              <a:gd name="T2" fmla="*/ 293979 w 3090544"/>
              <a:gd name="T3" fmla="*/ 165417 h 253365"/>
              <a:gd name="T4" fmla="*/ 266420 w 3090544"/>
              <a:gd name="T5" fmla="*/ 207365 h 253365"/>
              <a:gd name="T6" fmla="*/ 293979 w 3090544"/>
              <a:gd name="T7" fmla="*/ 249301 h 253365"/>
              <a:gd name="T8" fmla="*/ 343852 w 3090544"/>
              <a:gd name="T9" fmla="*/ 239534 h 253365"/>
              <a:gd name="T10" fmla="*/ 622452 w 3090544"/>
              <a:gd name="T11" fmla="*/ 246989 h 253365"/>
              <a:gd name="T12" fmla="*/ 413931 w 3090544"/>
              <a:gd name="T13" fmla="*/ 7061 h 253365"/>
              <a:gd name="T14" fmla="*/ 75628 w 3090544"/>
              <a:gd name="T15" fmla="*/ 9728 h 253365"/>
              <a:gd name="T16" fmla="*/ 0 w 3090544"/>
              <a:gd name="T17" fmla="*/ 123494 h 253365"/>
              <a:gd name="T18" fmla="*/ 75628 w 3090544"/>
              <a:gd name="T19" fmla="*/ 237286 h 253365"/>
              <a:gd name="T20" fmla="*/ 238823 w 3090544"/>
              <a:gd name="T21" fmla="*/ 203530 h 253365"/>
              <a:gd name="T22" fmla="*/ 164350 w 3090544"/>
              <a:gd name="T23" fmla="*/ 153962 h 253365"/>
              <a:gd name="T24" fmla="*/ 181749 w 3090544"/>
              <a:gd name="T25" fmla="*/ 65608 h 253365"/>
              <a:gd name="T26" fmla="*/ 258483 w 3090544"/>
              <a:gd name="T27" fmla="*/ 44411 h 253365"/>
              <a:gd name="T28" fmla="*/ 303085 w 3090544"/>
              <a:gd name="T29" fmla="*/ 74142 h 253365"/>
              <a:gd name="T30" fmla="*/ 1268044 w 3090544"/>
              <a:gd name="T31" fmla="*/ 248894 h 253365"/>
              <a:gd name="T32" fmla="*/ 1146378 w 3090544"/>
              <a:gd name="T33" fmla="*/ 92595 h 253365"/>
              <a:gd name="T34" fmla="*/ 1023289 w 3090544"/>
              <a:gd name="T35" fmla="*/ 174459 h 253365"/>
              <a:gd name="T36" fmla="*/ 1023289 w 3090544"/>
              <a:gd name="T37" fmla="*/ 174459 h 253365"/>
              <a:gd name="T38" fmla="*/ 906818 w 3090544"/>
              <a:gd name="T39" fmla="*/ 52743 h 253365"/>
              <a:gd name="T40" fmla="*/ 864831 w 3090544"/>
              <a:gd name="T41" fmla="*/ 218249 h 253365"/>
              <a:gd name="T42" fmla="*/ 1268044 w 3090544"/>
              <a:gd name="T43" fmla="*/ 248894 h 253365"/>
              <a:gd name="T44" fmla="*/ 1706829 w 3090544"/>
              <a:gd name="T45" fmla="*/ 43764 h 253365"/>
              <a:gd name="T46" fmla="*/ 1585315 w 3090544"/>
              <a:gd name="T47" fmla="*/ 2298 h 253365"/>
              <a:gd name="T48" fmla="*/ 1564487 w 3090544"/>
              <a:gd name="T49" fmla="*/ 183870 h 253365"/>
              <a:gd name="T50" fmla="*/ 1458353 w 3090544"/>
              <a:gd name="T51" fmla="*/ 205105 h 253365"/>
              <a:gd name="T52" fmla="*/ 1538414 w 3090544"/>
              <a:gd name="T53" fmla="*/ 49377 h 253365"/>
              <a:gd name="T54" fmla="*/ 1585315 w 3090544"/>
              <a:gd name="T55" fmla="*/ 124942 h 253365"/>
              <a:gd name="T56" fmla="*/ 1301597 w 3090544"/>
              <a:gd name="T57" fmla="*/ 0 h 253365"/>
              <a:gd name="T58" fmla="*/ 1604314 w 3090544"/>
              <a:gd name="T59" fmla="*/ 245668 h 253365"/>
              <a:gd name="T60" fmla="*/ 1735251 w 3090544"/>
              <a:gd name="T61" fmla="*/ 164058 h 253365"/>
              <a:gd name="T62" fmla="*/ 2206523 w 3090544"/>
              <a:gd name="T63" fmla="*/ 157530 h 253365"/>
              <a:gd name="T64" fmla="*/ 2261095 w 3090544"/>
              <a:gd name="T65" fmla="*/ 106921 h 253365"/>
              <a:gd name="T66" fmla="*/ 2252942 w 3090544"/>
              <a:gd name="T67" fmla="*/ 43802 h 253365"/>
              <a:gd name="T68" fmla="*/ 2154047 w 3090544"/>
              <a:gd name="T69" fmla="*/ 0 h 253365"/>
              <a:gd name="T70" fmla="*/ 1977072 w 3090544"/>
              <a:gd name="T71" fmla="*/ 248894 h 253365"/>
              <a:gd name="T72" fmla="*/ 2073948 w 3090544"/>
              <a:gd name="T73" fmla="*/ 47777 h 253365"/>
              <a:gd name="T74" fmla="*/ 2104517 w 3090544"/>
              <a:gd name="T75" fmla="*/ 89331 h 253365"/>
              <a:gd name="T76" fmla="*/ 2063915 w 3090544"/>
              <a:gd name="T77" fmla="*/ 136613 h 253365"/>
              <a:gd name="T78" fmla="*/ 2081834 w 3090544"/>
              <a:gd name="T79" fmla="*/ 248894 h 253365"/>
              <a:gd name="T80" fmla="*/ 2366886 w 3090544"/>
              <a:gd name="T81" fmla="*/ 12 h 253365"/>
              <a:gd name="T82" fmla="*/ 2523629 w 3090544"/>
              <a:gd name="T83" fmla="*/ 12 h 253365"/>
              <a:gd name="T84" fmla="*/ 3032163 w 3090544"/>
              <a:gd name="T85" fmla="*/ 174459 h 253365"/>
              <a:gd name="T86" fmla="*/ 2845473 w 3090544"/>
              <a:gd name="T87" fmla="*/ 0 h 253365"/>
              <a:gd name="T88" fmla="*/ 2782201 w 3090544"/>
              <a:gd name="T89" fmla="*/ 92595 h 253365"/>
              <a:gd name="T90" fmla="*/ 2688132 w 3090544"/>
              <a:gd name="T91" fmla="*/ 0 h 253365"/>
              <a:gd name="T92" fmla="*/ 2661729 w 3090544"/>
              <a:gd name="T93" fmla="*/ 248894 h 253365"/>
              <a:gd name="T94" fmla="*/ 2902902 w 3090544"/>
              <a:gd name="T95" fmla="*/ 248894 h 25336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3090544" h="253365">
                <a:moveTo>
                  <a:pt x="357009" y="207365"/>
                </a:moveTo>
                <a:lnTo>
                  <a:pt x="353491" y="189585"/>
                </a:lnTo>
                <a:lnTo>
                  <a:pt x="343852" y="175133"/>
                </a:lnTo>
                <a:lnTo>
                  <a:pt x="329476" y="165417"/>
                </a:lnTo>
                <a:lnTo>
                  <a:pt x="311746" y="161861"/>
                </a:lnTo>
                <a:lnTo>
                  <a:pt x="293979" y="165417"/>
                </a:lnTo>
                <a:lnTo>
                  <a:pt x="279577" y="175133"/>
                </a:lnTo>
                <a:lnTo>
                  <a:pt x="269938" y="189585"/>
                </a:lnTo>
                <a:lnTo>
                  <a:pt x="266420" y="207365"/>
                </a:lnTo>
                <a:lnTo>
                  <a:pt x="269938" y="225056"/>
                </a:lnTo>
                <a:lnTo>
                  <a:pt x="279577" y="239534"/>
                </a:lnTo>
                <a:lnTo>
                  <a:pt x="293979" y="249301"/>
                </a:lnTo>
                <a:lnTo>
                  <a:pt x="311746" y="252895"/>
                </a:lnTo>
                <a:lnTo>
                  <a:pt x="329476" y="249301"/>
                </a:lnTo>
                <a:lnTo>
                  <a:pt x="343852" y="239534"/>
                </a:lnTo>
                <a:lnTo>
                  <a:pt x="353491" y="225056"/>
                </a:lnTo>
                <a:lnTo>
                  <a:pt x="357009" y="207365"/>
                </a:lnTo>
                <a:close/>
              </a:path>
              <a:path w="3090544" h="253365">
                <a:moveTo>
                  <a:pt x="622452" y="246989"/>
                </a:moveTo>
                <a:lnTo>
                  <a:pt x="493928" y="81991"/>
                </a:lnTo>
                <a:lnTo>
                  <a:pt x="469874" y="51904"/>
                </a:lnTo>
                <a:lnTo>
                  <a:pt x="413931" y="7061"/>
                </a:lnTo>
                <a:lnTo>
                  <a:pt x="377621" y="12"/>
                </a:lnTo>
                <a:lnTo>
                  <a:pt x="123710" y="12"/>
                </a:lnTo>
                <a:lnTo>
                  <a:pt x="75628" y="9728"/>
                </a:lnTo>
                <a:lnTo>
                  <a:pt x="36296" y="36195"/>
                </a:lnTo>
                <a:lnTo>
                  <a:pt x="9740" y="75450"/>
                </a:lnTo>
                <a:lnTo>
                  <a:pt x="0" y="123494"/>
                </a:lnTo>
                <a:lnTo>
                  <a:pt x="9740" y="171564"/>
                </a:lnTo>
                <a:lnTo>
                  <a:pt x="36296" y="210820"/>
                </a:lnTo>
                <a:lnTo>
                  <a:pt x="75628" y="237286"/>
                </a:lnTo>
                <a:lnTo>
                  <a:pt x="123710" y="246989"/>
                </a:lnTo>
                <a:lnTo>
                  <a:pt x="238823" y="246989"/>
                </a:lnTo>
                <a:lnTo>
                  <a:pt x="238823" y="203530"/>
                </a:lnTo>
                <a:lnTo>
                  <a:pt x="207429" y="197129"/>
                </a:lnTo>
                <a:lnTo>
                  <a:pt x="181724" y="179705"/>
                </a:lnTo>
                <a:lnTo>
                  <a:pt x="164350" y="153962"/>
                </a:lnTo>
                <a:lnTo>
                  <a:pt x="157975" y="122542"/>
                </a:lnTo>
                <a:lnTo>
                  <a:pt x="164363" y="91198"/>
                </a:lnTo>
                <a:lnTo>
                  <a:pt x="181749" y="65608"/>
                </a:lnTo>
                <a:lnTo>
                  <a:pt x="207530" y="48361"/>
                </a:lnTo>
                <a:lnTo>
                  <a:pt x="239064" y="42037"/>
                </a:lnTo>
                <a:lnTo>
                  <a:pt x="258483" y="44411"/>
                </a:lnTo>
                <a:lnTo>
                  <a:pt x="275844" y="51041"/>
                </a:lnTo>
                <a:lnTo>
                  <a:pt x="290817" y="61201"/>
                </a:lnTo>
                <a:lnTo>
                  <a:pt x="303085" y="74142"/>
                </a:lnTo>
                <a:lnTo>
                  <a:pt x="436664" y="246989"/>
                </a:lnTo>
                <a:lnTo>
                  <a:pt x="622452" y="246989"/>
                </a:lnTo>
                <a:close/>
              </a:path>
              <a:path w="3090544" h="253365">
                <a:moveTo>
                  <a:pt x="1268044" y="248894"/>
                </a:moveTo>
                <a:lnTo>
                  <a:pt x="1244193" y="218249"/>
                </a:lnTo>
                <a:lnTo>
                  <a:pt x="1210106" y="174459"/>
                </a:lnTo>
                <a:lnTo>
                  <a:pt x="1146378" y="92595"/>
                </a:lnTo>
                <a:lnTo>
                  <a:pt x="1074293" y="0"/>
                </a:lnTo>
                <a:lnTo>
                  <a:pt x="1023289" y="0"/>
                </a:lnTo>
                <a:lnTo>
                  <a:pt x="1023289" y="174459"/>
                </a:lnTo>
                <a:lnTo>
                  <a:pt x="894892" y="174459"/>
                </a:lnTo>
                <a:lnTo>
                  <a:pt x="960107" y="92595"/>
                </a:lnTo>
                <a:lnTo>
                  <a:pt x="1023289" y="174459"/>
                </a:lnTo>
                <a:lnTo>
                  <a:pt x="1023289" y="0"/>
                </a:lnTo>
                <a:lnTo>
                  <a:pt x="866051" y="0"/>
                </a:lnTo>
                <a:lnTo>
                  <a:pt x="906818" y="52743"/>
                </a:lnTo>
                <a:lnTo>
                  <a:pt x="746315" y="248894"/>
                </a:lnTo>
                <a:lnTo>
                  <a:pt x="839660" y="248894"/>
                </a:lnTo>
                <a:lnTo>
                  <a:pt x="864831" y="218249"/>
                </a:lnTo>
                <a:lnTo>
                  <a:pt x="1057160" y="218249"/>
                </a:lnTo>
                <a:lnTo>
                  <a:pt x="1080795" y="248894"/>
                </a:lnTo>
                <a:lnTo>
                  <a:pt x="1268044" y="248894"/>
                </a:lnTo>
                <a:close/>
              </a:path>
              <a:path w="3090544" h="253365">
                <a:moveTo>
                  <a:pt x="1740636" y="125158"/>
                </a:moveTo>
                <a:lnTo>
                  <a:pt x="1735315" y="86347"/>
                </a:lnTo>
                <a:lnTo>
                  <a:pt x="1706829" y="43764"/>
                </a:lnTo>
                <a:lnTo>
                  <a:pt x="1654098" y="13538"/>
                </a:lnTo>
                <a:lnTo>
                  <a:pt x="1604657" y="3365"/>
                </a:lnTo>
                <a:lnTo>
                  <a:pt x="1585315" y="2298"/>
                </a:lnTo>
                <a:lnTo>
                  <a:pt x="1585315" y="124942"/>
                </a:lnTo>
                <a:lnTo>
                  <a:pt x="1580108" y="158673"/>
                </a:lnTo>
                <a:lnTo>
                  <a:pt x="1564487" y="183870"/>
                </a:lnTo>
                <a:lnTo>
                  <a:pt x="1538516" y="199644"/>
                </a:lnTo>
                <a:lnTo>
                  <a:pt x="1502232" y="205105"/>
                </a:lnTo>
                <a:lnTo>
                  <a:pt x="1458353" y="205105"/>
                </a:lnTo>
                <a:lnTo>
                  <a:pt x="1458353" y="43764"/>
                </a:lnTo>
                <a:lnTo>
                  <a:pt x="1502232" y="43764"/>
                </a:lnTo>
                <a:lnTo>
                  <a:pt x="1538414" y="49377"/>
                </a:lnTo>
                <a:lnTo>
                  <a:pt x="1564398" y="65506"/>
                </a:lnTo>
                <a:lnTo>
                  <a:pt x="1580070" y="91059"/>
                </a:lnTo>
                <a:lnTo>
                  <a:pt x="1585315" y="124942"/>
                </a:lnTo>
                <a:lnTo>
                  <a:pt x="1585315" y="2298"/>
                </a:lnTo>
                <a:lnTo>
                  <a:pt x="1543723" y="0"/>
                </a:lnTo>
                <a:lnTo>
                  <a:pt x="1301597" y="0"/>
                </a:lnTo>
                <a:lnTo>
                  <a:pt x="1301597" y="248894"/>
                </a:lnTo>
                <a:lnTo>
                  <a:pt x="1543723" y="248894"/>
                </a:lnTo>
                <a:lnTo>
                  <a:pt x="1604314" y="245668"/>
                </a:lnTo>
                <a:lnTo>
                  <a:pt x="1653654" y="235839"/>
                </a:lnTo>
                <a:lnTo>
                  <a:pt x="1691855" y="219138"/>
                </a:lnTo>
                <a:lnTo>
                  <a:pt x="1735251" y="164058"/>
                </a:lnTo>
                <a:lnTo>
                  <a:pt x="1740636" y="125158"/>
                </a:lnTo>
                <a:close/>
              </a:path>
              <a:path w="3090544" h="253365">
                <a:moveTo>
                  <a:pt x="2277529" y="248894"/>
                </a:moveTo>
                <a:lnTo>
                  <a:pt x="2206523" y="157530"/>
                </a:lnTo>
                <a:lnTo>
                  <a:pt x="2231339" y="145008"/>
                </a:lnTo>
                <a:lnTo>
                  <a:pt x="2249703" y="127965"/>
                </a:lnTo>
                <a:lnTo>
                  <a:pt x="2261095" y="106921"/>
                </a:lnTo>
                <a:lnTo>
                  <a:pt x="2265019" y="82397"/>
                </a:lnTo>
                <a:lnTo>
                  <a:pt x="2258149" y="50393"/>
                </a:lnTo>
                <a:lnTo>
                  <a:pt x="2252942" y="43802"/>
                </a:lnTo>
                <a:lnTo>
                  <a:pt x="2237448" y="24193"/>
                </a:lnTo>
                <a:lnTo>
                  <a:pt x="2202789" y="6502"/>
                </a:lnTo>
                <a:lnTo>
                  <a:pt x="2154047" y="0"/>
                </a:lnTo>
                <a:lnTo>
                  <a:pt x="1820545" y="0"/>
                </a:lnTo>
                <a:lnTo>
                  <a:pt x="1820545" y="248894"/>
                </a:lnTo>
                <a:lnTo>
                  <a:pt x="1977072" y="248894"/>
                </a:lnTo>
                <a:lnTo>
                  <a:pt x="1977072" y="43802"/>
                </a:lnTo>
                <a:lnTo>
                  <a:pt x="2047989" y="43802"/>
                </a:lnTo>
                <a:lnTo>
                  <a:pt x="2073948" y="47777"/>
                </a:lnTo>
                <a:lnTo>
                  <a:pt x="2091486" y="58178"/>
                </a:lnTo>
                <a:lnTo>
                  <a:pt x="2101392" y="72783"/>
                </a:lnTo>
                <a:lnTo>
                  <a:pt x="2104517" y="89331"/>
                </a:lnTo>
                <a:lnTo>
                  <a:pt x="2098624" y="111201"/>
                </a:lnTo>
                <a:lnTo>
                  <a:pt x="2083714" y="127012"/>
                </a:lnTo>
                <a:lnTo>
                  <a:pt x="2063915" y="136613"/>
                </a:lnTo>
                <a:lnTo>
                  <a:pt x="2043353" y="139852"/>
                </a:lnTo>
                <a:lnTo>
                  <a:pt x="2022157" y="139852"/>
                </a:lnTo>
                <a:lnTo>
                  <a:pt x="2081834" y="248894"/>
                </a:lnTo>
                <a:lnTo>
                  <a:pt x="2277529" y="248894"/>
                </a:lnTo>
                <a:close/>
              </a:path>
              <a:path w="3090544" h="253365">
                <a:moveTo>
                  <a:pt x="2523629" y="12"/>
                </a:moveTo>
                <a:lnTo>
                  <a:pt x="2366886" y="12"/>
                </a:lnTo>
                <a:lnTo>
                  <a:pt x="2366886" y="248894"/>
                </a:lnTo>
                <a:lnTo>
                  <a:pt x="2523629" y="248894"/>
                </a:lnTo>
                <a:lnTo>
                  <a:pt x="2523629" y="12"/>
                </a:lnTo>
                <a:close/>
              </a:path>
              <a:path w="3090544" h="253365">
                <a:moveTo>
                  <a:pt x="3090049" y="248894"/>
                </a:moveTo>
                <a:lnTo>
                  <a:pt x="3066224" y="218249"/>
                </a:lnTo>
                <a:lnTo>
                  <a:pt x="3032163" y="174459"/>
                </a:lnTo>
                <a:lnTo>
                  <a:pt x="2968498" y="92595"/>
                </a:lnTo>
                <a:lnTo>
                  <a:pt x="2896476" y="0"/>
                </a:lnTo>
                <a:lnTo>
                  <a:pt x="2845473" y="0"/>
                </a:lnTo>
                <a:lnTo>
                  <a:pt x="2845473" y="174459"/>
                </a:lnTo>
                <a:lnTo>
                  <a:pt x="2716720" y="174459"/>
                </a:lnTo>
                <a:lnTo>
                  <a:pt x="2782201" y="92595"/>
                </a:lnTo>
                <a:lnTo>
                  <a:pt x="2845473" y="174459"/>
                </a:lnTo>
                <a:lnTo>
                  <a:pt x="2845473" y="0"/>
                </a:lnTo>
                <a:lnTo>
                  <a:pt x="2688132" y="0"/>
                </a:lnTo>
                <a:lnTo>
                  <a:pt x="2728988" y="52743"/>
                </a:lnTo>
                <a:lnTo>
                  <a:pt x="2568397" y="248894"/>
                </a:lnTo>
                <a:lnTo>
                  <a:pt x="2661729" y="248894"/>
                </a:lnTo>
                <a:lnTo>
                  <a:pt x="2686913" y="218249"/>
                </a:lnTo>
                <a:lnTo>
                  <a:pt x="2879267" y="218249"/>
                </a:lnTo>
                <a:lnTo>
                  <a:pt x="2902902" y="248894"/>
                </a:lnTo>
                <a:lnTo>
                  <a:pt x="3090049" y="248894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en-AU"/>
          </a:p>
        </p:txBody>
      </p:sp>
      <p:sp>
        <p:nvSpPr>
          <p:cNvPr id="9" name="object 2">
            <a:extLst>
              <a:ext uri="{FF2B5EF4-FFF2-40B4-BE49-F238E27FC236}">
                <a16:creationId xmlns:a16="http://schemas.microsoft.com/office/drawing/2014/main" id="{E076A18A-B2BE-B6EA-537C-6E0EA72ED628}"/>
              </a:ext>
            </a:extLst>
          </p:cNvPr>
          <p:cNvSpPr txBox="1"/>
          <p:nvPr userDrawn="1"/>
        </p:nvSpPr>
        <p:spPr>
          <a:xfrm>
            <a:off x="5835650" y="1758950"/>
            <a:ext cx="8432800" cy="1133475"/>
          </a:xfrm>
          <a:prstGeom prst="rect">
            <a:avLst/>
          </a:prstGeom>
        </p:spPr>
        <p:txBody>
          <a:bodyPr lIns="0" tIns="89535" rIns="0" bIns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it-IT" sz="2400" b="1" spc="300" dirty="0">
                <a:latin typeface="Helvetica Neue" panose="02000503000000020004" pitchFamily="2" charset="0"/>
              </a:rPr>
              <a:t>DESIGNED TO PERFORM</a:t>
            </a:r>
            <a:endParaRPr lang="it-IT" sz="2400" spc="300" dirty="0">
              <a:latin typeface="Helvetica Neue" panose="02000503000000020004" pitchFamily="2" charset="0"/>
            </a:endParaRPr>
          </a:p>
          <a:p>
            <a:pPr algn="ctr" eaLnBrk="1" fontAlgn="auto" hangingPunct="1">
              <a:spcBef>
                <a:spcPts val="975"/>
              </a:spcBef>
              <a:spcAft>
                <a:spcPts val="0"/>
              </a:spcAft>
              <a:defRPr/>
            </a:pPr>
            <a:r>
              <a:rPr lang="it-IT" sz="3550" b="1" spc="300" dirty="0">
                <a:solidFill>
                  <a:srgbClr val="666666"/>
                </a:solidFill>
                <a:latin typeface="Helvetica Neue"/>
                <a:cs typeface="Helvetica Neue"/>
              </a:rPr>
              <a:t>BASE VEHICLE HIGHLIGHTS</a:t>
            </a:r>
            <a:endParaRPr lang="it-IT" sz="3550" spc="300" dirty="0">
              <a:latin typeface="Helvetica Neue"/>
              <a:cs typeface="Helvetica Neue"/>
            </a:endParaRPr>
          </a:p>
        </p:txBody>
      </p:sp>
      <p:sp>
        <p:nvSpPr>
          <p:cNvPr id="10" name="object 4">
            <a:extLst>
              <a:ext uri="{FF2B5EF4-FFF2-40B4-BE49-F238E27FC236}">
                <a16:creationId xmlns:a16="http://schemas.microsoft.com/office/drawing/2014/main" id="{801DDC22-137A-1A96-BABF-9F8DFED6D9E2}"/>
              </a:ext>
            </a:extLst>
          </p:cNvPr>
          <p:cNvSpPr>
            <a:spLocks/>
          </p:cNvSpPr>
          <p:nvPr userDrawn="1"/>
        </p:nvSpPr>
        <p:spPr bwMode="auto">
          <a:xfrm>
            <a:off x="1362075" y="2257425"/>
            <a:ext cx="1338263" cy="1336675"/>
          </a:xfrm>
          <a:custGeom>
            <a:avLst/>
            <a:gdLst>
              <a:gd name="T0" fmla="*/ 620906 w 1337945"/>
              <a:gd name="T1" fmla="*/ 1678 h 1337945"/>
              <a:gd name="T2" fmla="*/ 528231 w 1337945"/>
              <a:gd name="T3" fmla="*/ 14770 h 1337945"/>
              <a:gd name="T4" fmla="*/ 440086 w 1337945"/>
              <a:gd name="T5" fmla="*/ 40086 h 1337945"/>
              <a:gd name="T6" fmla="*/ 357376 w 1337945"/>
              <a:gd name="T7" fmla="*/ 76722 h 1337945"/>
              <a:gd name="T8" fmla="*/ 281008 w 1337945"/>
              <a:gd name="T9" fmla="*/ 123771 h 1337945"/>
              <a:gd name="T10" fmla="*/ 211885 w 1337945"/>
              <a:gd name="T11" fmla="*/ 180329 h 1337945"/>
              <a:gd name="T12" fmla="*/ 150914 w 1337945"/>
              <a:gd name="T13" fmla="*/ 245491 h 1337945"/>
              <a:gd name="T14" fmla="*/ 98998 w 1337945"/>
              <a:gd name="T15" fmla="*/ 318351 h 1337945"/>
              <a:gd name="T16" fmla="*/ 57044 w 1337945"/>
              <a:gd name="T17" fmla="*/ 398004 h 1337945"/>
              <a:gd name="T18" fmla="*/ 25956 w 1337945"/>
              <a:gd name="T19" fmla="*/ 483545 h 1337945"/>
              <a:gd name="T20" fmla="*/ 6639 w 1337945"/>
              <a:gd name="T21" fmla="*/ 574069 h 1337945"/>
              <a:gd name="T22" fmla="*/ 0 w 1337945"/>
              <a:gd name="T23" fmla="*/ 668670 h 1337945"/>
              <a:gd name="T24" fmla="*/ 6639 w 1337945"/>
              <a:gd name="T25" fmla="*/ 763269 h 1337945"/>
              <a:gd name="T26" fmla="*/ 25956 w 1337945"/>
              <a:gd name="T27" fmla="*/ 853791 h 1337945"/>
              <a:gd name="T28" fmla="*/ 57044 w 1337945"/>
              <a:gd name="T29" fmla="*/ 939330 h 1337945"/>
              <a:gd name="T30" fmla="*/ 98998 w 1337945"/>
              <a:gd name="T31" fmla="*/ 1018982 h 1337945"/>
              <a:gd name="T32" fmla="*/ 150914 w 1337945"/>
              <a:gd name="T33" fmla="*/ 1091841 h 1337945"/>
              <a:gd name="T34" fmla="*/ 211885 w 1337945"/>
              <a:gd name="T35" fmla="*/ 1157002 h 1337945"/>
              <a:gd name="T36" fmla="*/ 281008 w 1337945"/>
              <a:gd name="T37" fmla="*/ 1213560 h 1337945"/>
              <a:gd name="T38" fmla="*/ 357376 w 1337945"/>
              <a:gd name="T39" fmla="*/ 1260609 h 1337945"/>
              <a:gd name="T40" fmla="*/ 440086 w 1337945"/>
              <a:gd name="T41" fmla="*/ 1297244 h 1337945"/>
              <a:gd name="T42" fmla="*/ 528231 w 1337945"/>
              <a:gd name="T43" fmla="*/ 1322560 h 1337945"/>
              <a:gd name="T44" fmla="*/ 620906 w 1337945"/>
              <a:gd name="T45" fmla="*/ 1335652 h 1337945"/>
              <a:gd name="T46" fmla="*/ 716412 w 1337945"/>
              <a:gd name="T47" fmla="*/ 1335652 h 1337945"/>
              <a:gd name="T48" fmla="*/ 809086 w 1337945"/>
              <a:gd name="T49" fmla="*/ 1322560 h 1337945"/>
              <a:gd name="T50" fmla="*/ 897230 w 1337945"/>
              <a:gd name="T51" fmla="*/ 1297244 h 1337945"/>
              <a:gd name="T52" fmla="*/ 979938 w 1337945"/>
              <a:gd name="T53" fmla="*/ 1260609 h 1337945"/>
              <a:gd name="T54" fmla="*/ 1056307 w 1337945"/>
              <a:gd name="T55" fmla="*/ 1213560 h 1337945"/>
              <a:gd name="T56" fmla="*/ 1125430 w 1337945"/>
              <a:gd name="T57" fmla="*/ 1157002 h 1337945"/>
              <a:gd name="T58" fmla="*/ 1186402 w 1337945"/>
              <a:gd name="T59" fmla="*/ 1091841 h 1337945"/>
              <a:gd name="T60" fmla="*/ 1238319 w 1337945"/>
              <a:gd name="T61" fmla="*/ 1018982 h 1337945"/>
              <a:gd name="T62" fmla="*/ 1280274 w 1337945"/>
              <a:gd name="T63" fmla="*/ 939330 h 1337945"/>
              <a:gd name="T64" fmla="*/ 1311363 w 1337945"/>
              <a:gd name="T65" fmla="*/ 853791 h 1337945"/>
              <a:gd name="T66" fmla="*/ 1330680 w 1337945"/>
              <a:gd name="T67" fmla="*/ 763269 h 1337945"/>
              <a:gd name="T68" fmla="*/ 1337320 w 1337945"/>
              <a:gd name="T69" fmla="*/ 668670 h 1337945"/>
              <a:gd name="T70" fmla="*/ 1330680 w 1337945"/>
              <a:gd name="T71" fmla="*/ 574069 h 1337945"/>
              <a:gd name="T72" fmla="*/ 1311363 w 1337945"/>
              <a:gd name="T73" fmla="*/ 483545 h 1337945"/>
              <a:gd name="T74" fmla="*/ 1280274 w 1337945"/>
              <a:gd name="T75" fmla="*/ 398004 h 1337945"/>
              <a:gd name="T76" fmla="*/ 1238319 w 1337945"/>
              <a:gd name="T77" fmla="*/ 318351 h 1337945"/>
              <a:gd name="T78" fmla="*/ 1186402 w 1337945"/>
              <a:gd name="T79" fmla="*/ 245491 h 1337945"/>
              <a:gd name="T80" fmla="*/ 1125430 w 1337945"/>
              <a:gd name="T81" fmla="*/ 180329 h 1337945"/>
              <a:gd name="T82" fmla="*/ 1056307 w 1337945"/>
              <a:gd name="T83" fmla="*/ 123771 h 1337945"/>
              <a:gd name="T84" fmla="*/ 979938 w 1337945"/>
              <a:gd name="T85" fmla="*/ 76722 h 1337945"/>
              <a:gd name="T86" fmla="*/ 897230 w 1337945"/>
              <a:gd name="T87" fmla="*/ 40086 h 1337945"/>
              <a:gd name="T88" fmla="*/ 809086 w 1337945"/>
              <a:gd name="T89" fmla="*/ 14770 h 1337945"/>
              <a:gd name="T90" fmla="*/ 716412 w 1337945"/>
              <a:gd name="T91" fmla="*/ 1678 h 13379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1337945" h="1337945">
                <a:moveTo>
                  <a:pt x="668660" y="0"/>
                </a:moveTo>
                <a:lnTo>
                  <a:pt x="620906" y="1678"/>
                </a:lnTo>
                <a:lnTo>
                  <a:pt x="574059" y="6640"/>
                </a:lnTo>
                <a:lnTo>
                  <a:pt x="528231" y="14770"/>
                </a:lnTo>
                <a:lnTo>
                  <a:pt x="483535" y="25957"/>
                </a:lnTo>
                <a:lnTo>
                  <a:pt x="440086" y="40086"/>
                </a:lnTo>
                <a:lnTo>
                  <a:pt x="397995" y="57046"/>
                </a:lnTo>
                <a:lnTo>
                  <a:pt x="357376" y="76722"/>
                </a:lnTo>
                <a:lnTo>
                  <a:pt x="318343" y="99001"/>
                </a:lnTo>
                <a:lnTo>
                  <a:pt x="281008" y="123771"/>
                </a:lnTo>
                <a:lnTo>
                  <a:pt x="245484" y="150918"/>
                </a:lnTo>
                <a:lnTo>
                  <a:pt x="211885" y="180329"/>
                </a:lnTo>
                <a:lnTo>
                  <a:pt x="180324" y="211891"/>
                </a:lnTo>
                <a:lnTo>
                  <a:pt x="150914" y="245491"/>
                </a:lnTo>
                <a:lnTo>
                  <a:pt x="123767" y="281015"/>
                </a:lnTo>
                <a:lnTo>
                  <a:pt x="98998" y="318351"/>
                </a:lnTo>
                <a:lnTo>
                  <a:pt x="76719" y="357385"/>
                </a:lnTo>
                <a:lnTo>
                  <a:pt x="57044" y="398004"/>
                </a:lnTo>
                <a:lnTo>
                  <a:pt x="40085" y="440095"/>
                </a:lnTo>
                <a:lnTo>
                  <a:pt x="25956" y="483545"/>
                </a:lnTo>
                <a:lnTo>
                  <a:pt x="14770" y="528241"/>
                </a:lnTo>
                <a:lnTo>
                  <a:pt x="6639" y="574069"/>
                </a:lnTo>
                <a:lnTo>
                  <a:pt x="1678" y="620916"/>
                </a:lnTo>
                <a:lnTo>
                  <a:pt x="0" y="668670"/>
                </a:lnTo>
                <a:lnTo>
                  <a:pt x="1678" y="716423"/>
                </a:lnTo>
                <a:lnTo>
                  <a:pt x="6639" y="763269"/>
                </a:lnTo>
                <a:lnTo>
                  <a:pt x="14770" y="809096"/>
                </a:lnTo>
                <a:lnTo>
                  <a:pt x="25956" y="853791"/>
                </a:lnTo>
                <a:lnTo>
                  <a:pt x="40085" y="897240"/>
                </a:lnTo>
                <a:lnTo>
                  <a:pt x="57044" y="939330"/>
                </a:lnTo>
                <a:lnTo>
                  <a:pt x="76719" y="979949"/>
                </a:lnTo>
                <a:lnTo>
                  <a:pt x="98998" y="1018982"/>
                </a:lnTo>
                <a:lnTo>
                  <a:pt x="123767" y="1056317"/>
                </a:lnTo>
                <a:lnTo>
                  <a:pt x="150914" y="1091841"/>
                </a:lnTo>
                <a:lnTo>
                  <a:pt x="180324" y="1125440"/>
                </a:lnTo>
                <a:lnTo>
                  <a:pt x="211885" y="1157002"/>
                </a:lnTo>
                <a:lnTo>
                  <a:pt x="245484" y="1186413"/>
                </a:lnTo>
                <a:lnTo>
                  <a:pt x="281008" y="1213560"/>
                </a:lnTo>
                <a:lnTo>
                  <a:pt x="318343" y="1238329"/>
                </a:lnTo>
                <a:lnTo>
                  <a:pt x="357376" y="1260609"/>
                </a:lnTo>
                <a:lnTo>
                  <a:pt x="397995" y="1280284"/>
                </a:lnTo>
                <a:lnTo>
                  <a:pt x="440086" y="1297244"/>
                </a:lnTo>
                <a:lnTo>
                  <a:pt x="483535" y="1311373"/>
                </a:lnTo>
                <a:lnTo>
                  <a:pt x="528231" y="1322560"/>
                </a:lnTo>
                <a:lnTo>
                  <a:pt x="574059" y="1330690"/>
                </a:lnTo>
                <a:lnTo>
                  <a:pt x="620906" y="1335652"/>
                </a:lnTo>
                <a:lnTo>
                  <a:pt x="668660" y="1337331"/>
                </a:lnTo>
                <a:lnTo>
                  <a:pt x="716412" y="1335652"/>
                </a:lnTo>
                <a:lnTo>
                  <a:pt x="763259" y="1330690"/>
                </a:lnTo>
                <a:lnTo>
                  <a:pt x="809086" y="1322560"/>
                </a:lnTo>
                <a:lnTo>
                  <a:pt x="853781" y="1311373"/>
                </a:lnTo>
                <a:lnTo>
                  <a:pt x="897230" y="1297244"/>
                </a:lnTo>
                <a:lnTo>
                  <a:pt x="939320" y="1280284"/>
                </a:lnTo>
                <a:lnTo>
                  <a:pt x="979938" y="1260609"/>
                </a:lnTo>
                <a:lnTo>
                  <a:pt x="1018972" y="1238329"/>
                </a:lnTo>
                <a:lnTo>
                  <a:pt x="1056307" y="1213560"/>
                </a:lnTo>
                <a:lnTo>
                  <a:pt x="1091831" y="1186413"/>
                </a:lnTo>
                <a:lnTo>
                  <a:pt x="1125430" y="1157002"/>
                </a:lnTo>
                <a:lnTo>
                  <a:pt x="1156992" y="1125440"/>
                </a:lnTo>
                <a:lnTo>
                  <a:pt x="1186402" y="1091841"/>
                </a:lnTo>
                <a:lnTo>
                  <a:pt x="1213549" y="1056317"/>
                </a:lnTo>
                <a:lnTo>
                  <a:pt x="1238319" y="1018982"/>
                </a:lnTo>
                <a:lnTo>
                  <a:pt x="1260598" y="979949"/>
                </a:lnTo>
                <a:lnTo>
                  <a:pt x="1280274" y="939330"/>
                </a:lnTo>
                <a:lnTo>
                  <a:pt x="1297233" y="897240"/>
                </a:lnTo>
                <a:lnTo>
                  <a:pt x="1311363" y="853791"/>
                </a:lnTo>
                <a:lnTo>
                  <a:pt x="1322549" y="809096"/>
                </a:lnTo>
                <a:lnTo>
                  <a:pt x="1330680" y="763269"/>
                </a:lnTo>
                <a:lnTo>
                  <a:pt x="1335641" y="716423"/>
                </a:lnTo>
                <a:lnTo>
                  <a:pt x="1337320" y="668670"/>
                </a:lnTo>
                <a:lnTo>
                  <a:pt x="1335641" y="620916"/>
                </a:lnTo>
                <a:lnTo>
                  <a:pt x="1330680" y="574069"/>
                </a:lnTo>
                <a:lnTo>
                  <a:pt x="1322549" y="528241"/>
                </a:lnTo>
                <a:lnTo>
                  <a:pt x="1311363" y="483545"/>
                </a:lnTo>
                <a:lnTo>
                  <a:pt x="1297233" y="440095"/>
                </a:lnTo>
                <a:lnTo>
                  <a:pt x="1280274" y="398004"/>
                </a:lnTo>
                <a:lnTo>
                  <a:pt x="1260598" y="357385"/>
                </a:lnTo>
                <a:lnTo>
                  <a:pt x="1238319" y="318351"/>
                </a:lnTo>
                <a:lnTo>
                  <a:pt x="1213549" y="281015"/>
                </a:lnTo>
                <a:lnTo>
                  <a:pt x="1186402" y="245491"/>
                </a:lnTo>
                <a:lnTo>
                  <a:pt x="1156992" y="211891"/>
                </a:lnTo>
                <a:lnTo>
                  <a:pt x="1125430" y="180329"/>
                </a:lnTo>
                <a:lnTo>
                  <a:pt x="1091831" y="150918"/>
                </a:lnTo>
                <a:lnTo>
                  <a:pt x="1056307" y="123771"/>
                </a:lnTo>
                <a:lnTo>
                  <a:pt x="1018972" y="99001"/>
                </a:lnTo>
                <a:lnTo>
                  <a:pt x="979938" y="76722"/>
                </a:lnTo>
                <a:lnTo>
                  <a:pt x="939320" y="57046"/>
                </a:lnTo>
                <a:lnTo>
                  <a:pt x="897230" y="40086"/>
                </a:lnTo>
                <a:lnTo>
                  <a:pt x="853781" y="25957"/>
                </a:lnTo>
                <a:lnTo>
                  <a:pt x="809086" y="14770"/>
                </a:lnTo>
                <a:lnTo>
                  <a:pt x="763259" y="6640"/>
                </a:lnTo>
                <a:lnTo>
                  <a:pt x="716412" y="1678"/>
                </a:lnTo>
                <a:lnTo>
                  <a:pt x="668660" y="0"/>
                </a:lnTo>
                <a:close/>
              </a:path>
            </a:pathLst>
          </a:custGeom>
          <a:solidFill>
            <a:srgbClr val="E5E5E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en-AU"/>
          </a:p>
        </p:txBody>
      </p:sp>
      <p:sp>
        <p:nvSpPr>
          <p:cNvPr id="11" name="object 5">
            <a:extLst>
              <a:ext uri="{FF2B5EF4-FFF2-40B4-BE49-F238E27FC236}">
                <a16:creationId xmlns:a16="http://schemas.microsoft.com/office/drawing/2014/main" id="{BFE0FAB5-00BC-9EFB-038B-3DB172F28DB5}"/>
              </a:ext>
            </a:extLst>
          </p:cNvPr>
          <p:cNvSpPr txBox="1"/>
          <p:nvPr userDrawn="1"/>
        </p:nvSpPr>
        <p:spPr>
          <a:xfrm>
            <a:off x="1616075" y="2787650"/>
            <a:ext cx="831850" cy="312738"/>
          </a:xfrm>
          <a:prstGeom prst="rect">
            <a:avLst/>
          </a:prstGeom>
        </p:spPr>
        <p:txBody>
          <a:bodyPr lIns="0" tIns="12700" rIns="0" bIns="0">
            <a:spAutoFit/>
          </a:bodyPr>
          <a:lstStyle/>
          <a:p>
            <a:pPr marL="12700" algn="ctr" eaLnBrk="1" fontAlgn="auto" hangingPunct="1">
              <a:spcBef>
                <a:spcPts val="100"/>
              </a:spcBef>
              <a:spcAft>
                <a:spcPts val="0"/>
              </a:spcAft>
              <a:defRPr/>
            </a:pPr>
            <a:r>
              <a:rPr lang="it-IT" sz="1950" b="1" spc="505" dirty="0">
                <a:latin typeface="Helvetica Neue"/>
                <a:cs typeface="Helvetica Neue"/>
              </a:rPr>
              <a:t>FIAT</a:t>
            </a:r>
            <a:endParaRPr lang="it-IT" sz="1950" dirty="0">
              <a:latin typeface="Helvetica Neue"/>
              <a:cs typeface="Helvetica Neue"/>
            </a:endParaRPr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10052050" y="3401226"/>
            <a:ext cx="8542867" cy="7225030"/>
          </a:xfrm>
          <a:prstGeom prst="rect">
            <a:avLst/>
          </a:prstGeom>
          <a:solidFill>
            <a:srgbClr val="E5E5E5"/>
          </a:solidFill>
        </p:spPr>
        <p:txBody>
          <a:bodyPr/>
          <a:lstStyle>
            <a:lvl1pPr>
              <a:defRPr/>
            </a:lvl1pPr>
          </a:lstStyle>
          <a:p>
            <a:endParaRPr dirty="0"/>
          </a:p>
        </p:txBody>
      </p:sp>
      <p:sp>
        <p:nvSpPr>
          <p:cNvPr id="13" name="Holder 2"/>
          <p:cNvSpPr>
            <a:spLocks noGrp="1"/>
          </p:cNvSpPr>
          <p:nvPr>
            <p:ph type="ctrTitle"/>
          </p:nvPr>
        </p:nvSpPr>
        <p:spPr>
          <a:xfrm>
            <a:off x="1534064" y="4740275"/>
            <a:ext cx="6689186" cy="9144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600" b="1" i="0" u="sng">
                <a:latin typeface="Helvetica" pitchFamily="2" charset="0"/>
              </a:defRPr>
            </a:lvl1pPr>
          </a:lstStyle>
          <a:p>
            <a:endParaRPr lang="it-IT" dirty="0"/>
          </a:p>
        </p:txBody>
      </p:sp>
      <p:sp>
        <p:nvSpPr>
          <p:cNvPr id="14" name="Holder 3"/>
          <p:cNvSpPr>
            <a:spLocks noGrp="1"/>
          </p:cNvSpPr>
          <p:nvPr>
            <p:ph type="subTitle" idx="4"/>
          </p:nvPr>
        </p:nvSpPr>
        <p:spPr>
          <a:xfrm>
            <a:off x="1534064" y="5756441"/>
            <a:ext cx="6689186" cy="2108034"/>
          </a:xfrm>
          <a:prstGeom prst="rect">
            <a:avLst/>
          </a:prstGeom>
        </p:spPr>
        <p:txBody>
          <a:bodyPr/>
          <a:lstStyle>
            <a:lvl1pPr>
              <a:defRPr sz="2200"/>
            </a:lvl1pPr>
          </a:lstStyle>
          <a:p>
            <a:endParaRPr lang="it-IT" dirty="0"/>
          </a:p>
        </p:txBody>
      </p:sp>
      <p:sp>
        <p:nvSpPr>
          <p:cNvPr id="8" name="Segnaposto testo 7"/>
          <p:cNvSpPr>
            <a:spLocks noGrp="1"/>
          </p:cNvSpPr>
          <p:nvPr>
            <p:ph type="body" sz="quarter" idx="10"/>
          </p:nvPr>
        </p:nvSpPr>
        <p:spPr>
          <a:xfrm>
            <a:off x="1534064" y="8019591"/>
            <a:ext cx="6689186" cy="338554"/>
          </a:xfrm>
        </p:spPr>
        <p:txBody>
          <a:bodyPr/>
          <a:lstStyle>
            <a:lvl1pPr marL="342900" indent="-342900">
              <a:lnSpc>
                <a:spcPct val="100000"/>
              </a:lnSpc>
              <a:buFont typeface="Arial" panose="020B0604020202020204" pitchFamily="34" charset="0"/>
              <a:buChar char="•"/>
              <a:defRPr sz="2200" b="0" i="0">
                <a:latin typeface="Helvetica" pitchFamily="2" charset="0"/>
              </a:defRPr>
            </a:lvl1pPr>
            <a:lvl2pPr marL="457200" indent="0">
              <a:buFont typeface="Arial" panose="020B0604020202020204" pitchFamily="34" charset="0"/>
              <a:buNone/>
              <a:defRPr sz="2200" b="0" i="0">
                <a:latin typeface="Helvetica" pitchFamily="2" charset="0"/>
              </a:defRPr>
            </a:lvl2pPr>
            <a:lvl3pPr>
              <a:defRPr b="0" i="0">
                <a:latin typeface="Helvetica" pitchFamily="2" charset="0"/>
              </a:defRPr>
            </a:lvl3pPr>
            <a:lvl4pPr>
              <a:defRPr b="0" i="0">
                <a:latin typeface="Helvetica" pitchFamily="2" charset="0"/>
              </a:defRPr>
            </a:lvl4pPr>
            <a:lvl5pPr>
              <a:defRPr b="0" i="0">
                <a:latin typeface="Helvetica" pitchFamily="2" charset="0"/>
              </a:defRPr>
            </a:lvl5pPr>
          </a:lstStyle>
          <a:p>
            <a:pPr lvl="0"/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394383595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Predmet 1" hidden="1">
            <a:extLst>
              <a:ext uri="{FF2B5EF4-FFF2-40B4-BE49-F238E27FC236}">
                <a16:creationId xmlns:a16="http://schemas.microsoft.com/office/drawing/2014/main" id="{DF54FA13-2505-5646-F0B7-D5A3813354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2" name="Predmet 1" hidden="1">
                        <a:extLst>
                          <a:ext uri="{FF2B5EF4-FFF2-40B4-BE49-F238E27FC236}">
                            <a16:creationId xmlns:a16="http://schemas.microsoft.com/office/drawing/2014/main" id="{DF54FA13-2505-5646-F0B7-D5A381335493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bg object 16">
            <a:extLst>
              <a:ext uri="{FF2B5EF4-FFF2-40B4-BE49-F238E27FC236}">
                <a16:creationId xmlns:a16="http://schemas.microsoft.com/office/drawing/2014/main" id="{B434FE5A-EF66-571B-C5A1-B2931DF44727}"/>
              </a:ext>
            </a:extLst>
          </p:cNvPr>
          <p:cNvSpPr>
            <a:spLocks/>
          </p:cNvSpPr>
          <p:nvPr userDrawn="1"/>
        </p:nvSpPr>
        <p:spPr bwMode="auto">
          <a:xfrm>
            <a:off x="0" y="15875"/>
            <a:ext cx="20104100" cy="1530350"/>
          </a:xfrm>
          <a:custGeom>
            <a:avLst/>
            <a:gdLst>
              <a:gd name="T0" fmla="*/ 0 w 20104100"/>
              <a:gd name="T1" fmla="*/ 1530592 h 1530985"/>
              <a:gd name="T2" fmla="*/ 20104099 w 20104100"/>
              <a:gd name="T3" fmla="*/ 1530592 h 1530985"/>
              <a:gd name="T4" fmla="*/ 20104099 w 20104100"/>
              <a:gd name="T5" fmla="*/ 0 h 1530985"/>
              <a:gd name="T6" fmla="*/ 0 w 20104100"/>
              <a:gd name="T7" fmla="*/ 0 h 1530985"/>
              <a:gd name="T8" fmla="*/ 0 w 20104100"/>
              <a:gd name="T9" fmla="*/ 1530592 h 15309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0104100" h="1530985">
                <a:moveTo>
                  <a:pt x="0" y="1530592"/>
                </a:moveTo>
                <a:lnTo>
                  <a:pt x="20104099" y="1530592"/>
                </a:lnTo>
                <a:lnTo>
                  <a:pt x="20104099" y="0"/>
                </a:lnTo>
                <a:lnTo>
                  <a:pt x="0" y="0"/>
                </a:lnTo>
                <a:lnTo>
                  <a:pt x="0" y="1530592"/>
                </a:lnTo>
                <a:close/>
              </a:path>
            </a:pathLst>
          </a:custGeom>
          <a:solidFill>
            <a:srgbClr val="767B6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en-AU"/>
          </a:p>
        </p:txBody>
      </p:sp>
      <p:sp>
        <p:nvSpPr>
          <p:cNvPr id="4" name="Holder 2">
            <a:extLst>
              <a:ext uri="{FF2B5EF4-FFF2-40B4-BE49-F238E27FC236}">
                <a16:creationId xmlns:a16="http://schemas.microsoft.com/office/drawing/2014/main" id="{04BA496E-2A84-42FF-57FF-3A8293A89434}"/>
              </a:ext>
            </a:extLst>
          </p:cNvPr>
          <p:cNvSpPr txBox="1">
            <a:spLocks/>
          </p:cNvSpPr>
          <p:nvPr userDrawn="1"/>
        </p:nvSpPr>
        <p:spPr>
          <a:xfrm>
            <a:off x="3956050" y="606425"/>
            <a:ext cx="10163175" cy="400050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>
            <a:lvl1pPr>
              <a:defRPr sz="2600" b="1" i="0">
                <a:solidFill>
                  <a:schemeClr val="bg1"/>
                </a:solidFill>
                <a:latin typeface="Helvetica" pitchFamily="2" charset="0"/>
                <a:ea typeface="+mj-ea"/>
                <a:cs typeface="Helvetica Neue"/>
              </a:defRPr>
            </a:lvl1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it-IT" b="0" kern="0" spc="300" dirty="0">
                <a:latin typeface="Helvetica Light" panose="020B0403020202020204" pitchFamily="34" charset="0"/>
              </a:rPr>
              <a:t>COLLECTION</a:t>
            </a:r>
          </a:p>
        </p:txBody>
      </p:sp>
      <p:sp>
        <p:nvSpPr>
          <p:cNvPr id="5" name="Holder 2">
            <a:extLst>
              <a:ext uri="{FF2B5EF4-FFF2-40B4-BE49-F238E27FC236}">
                <a16:creationId xmlns:a16="http://schemas.microsoft.com/office/drawing/2014/main" id="{9EEB610C-D056-F167-E272-33465E6CB62A}"/>
              </a:ext>
            </a:extLst>
          </p:cNvPr>
          <p:cNvSpPr txBox="1">
            <a:spLocks/>
          </p:cNvSpPr>
          <p:nvPr userDrawn="1"/>
        </p:nvSpPr>
        <p:spPr>
          <a:xfrm>
            <a:off x="679450" y="606425"/>
            <a:ext cx="3505200" cy="400050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>
            <a:lvl1pPr>
              <a:defRPr sz="2600" b="1" i="0">
                <a:solidFill>
                  <a:schemeClr val="bg1"/>
                </a:solidFill>
                <a:latin typeface="Helvetica" pitchFamily="2" charset="0"/>
                <a:ea typeface="+mj-ea"/>
                <a:cs typeface="Helvetica Neue"/>
              </a:defRPr>
            </a:lvl1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it-IT" spc="600" dirty="0"/>
              <a:t>CAMPERVANS</a:t>
            </a:r>
            <a:endParaRPr lang="it-IT" kern="0" spc="600" dirty="0"/>
          </a:p>
        </p:txBody>
      </p:sp>
      <p:sp>
        <p:nvSpPr>
          <p:cNvPr id="6" name="object 2">
            <a:extLst>
              <a:ext uri="{FF2B5EF4-FFF2-40B4-BE49-F238E27FC236}">
                <a16:creationId xmlns:a16="http://schemas.microsoft.com/office/drawing/2014/main" id="{382148D1-8351-FC88-2FEE-494A3CF786C1}"/>
              </a:ext>
            </a:extLst>
          </p:cNvPr>
          <p:cNvSpPr>
            <a:spLocks/>
          </p:cNvSpPr>
          <p:nvPr userDrawn="1"/>
        </p:nvSpPr>
        <p:spPr bwMode="auto">
          <a:xfrm>
            <a:off x="16451263" y="663575"/>
            <a:ext cx="3090862" cy="254000"/>
          </a:xfrm>
          <a:custGeom>
            <a:avLst/>
            <a:gdLst>
              <a:gd name="T0" fmla="*/ 343852 w 3090544"/>
              <a:gd name="T1" fmla="*/ 175133 h 253365"/>
              <a:gd name="T2" fmla="*/ 293979 w 3090544"/>
              <a:gd name="T3" fmla="*/ 165417 h 253365"/>
              <a:gd name="T4" fmla="*/ 266420 w 3090544"/>
              <a:gd name="T5" fmla="*/ 207365 h 253365"/>
              <a:gd name="T6" fmla="*/ 293979 w 3090544"/>
              <a:gd name="T7" fmla="*/ 249301 h 253365"/>
              <a:gd name="T8" fmla="*/ 343852 w 3090544"/>
              <a:gd name="T9" fmla="*/ 239534 h 253365"/>
              <a:gd name="T10" fmla="*/ 622452 w 3090544"/>
              <a:gd name="T11" fmla="*/ 246989 h 253365"/>
              <a:gd name="T12" fmla="*/ 413931 w 3090544"/>
              <a:gd name="T13" fmla="*/ 7061 h 253365"/>
              <a:gd name="T14" fmla="*/ 75628 w 3090544"/>
              <a:gd name="T15" fmla="*/ 9728 h 253365"/>
              <a:gd name="T16" fmla="*/ 0 w 3090544"/>
              <a:gd name="T17" fmla="*/ 123494 h 253365"/>
              <a:gd name="T18" fmla="*/ 75628 w 3090544"/>
              <a:gd name="T19" fmla="*/ 237286 h 253365"/>
              <a:gd name="T20" fmla="*/ 238823 w 3090544"/>
              <a:gd name="T21" fmla="*/ 203530 h 253365"/>
              <a:gd name="T22" fmla="*/ 164350 w 3090544"/>
              <a:gd name="T23" fmla="*/ 153962 h 253365"/>
              <a:gd name="T24" fmla="*/ 181749 w 3090544"/>
              <a:gd name="T25" fmla="*/ 65608 h 253365"/>
              <a:gd name="T26" fmla="*/ 258483 w 3090544"/>
              <a:gd name="T27" fmla="*/ 44411 h 253365"/>
              <a:gd name="T28" fmla="*/ 303085 w 3090544"/>
              <a:gd name="T29" fmla="*/ 74142 h 253365"/>
              <a:gd name="T30" fmla="*/ 1268044 w 3090544"/>
              <a:gd name="T31" fmla="*/ 248894 h 253365"/>
              <a:gd name="T32" fmla="*/ 1146378 w 3090544"/>
              <a:gd name="T33" fmla="*/ 92595 h 253365"/>
              <a:gd name="T34" fmla="*/ 1023289 w 3090544"/>
              <a:gd name="T35" fmla="*/ 174459 h 253365"/>
              <a:gd name="T36" fmla="*/ 1023289 w 3090544"/>
              <a:gd name="T37" fmla="*/ 174459 h 253365"/>
              <a:gd name="T38" fmla="*/ 906818 w 3090544"/>
              <a:gd name="T39" fmla="*/ 52743 h 253365"/>
              <a:gd name="T40" fmla="*/ 864831 w 3090544"/>
              <a:gd name="T41" fmla="*/ 218249 h 253365"/>
              <a:gd name="T42" fmla="*/ 1268044 w 3090544"/>
              <a:gd name="T43" fmla="*/ 248894 h 253365"/>
              <a:gd name="T44" fmla="*/ 1706829 w 3090544"/>
              <a:gd name="T45" fmla="*/ 43764 h 253365"/>
              <a:gd name="T46" fmla="*/ 1585315 w 3090544"/>
              <a:gd name="T47" fmla="*/ 2298 h 253365"/>
              <a:gd name="T48" fmla="*/ 1564487 w 3090544"/>
              <a:gd name="T49" fmla="*/ 183870 h 253365"/>
              <a:gd name="T50" fmla="*/ 1458353 w 3090544"/>
              <a:gd name="T51" fmla="*/ 205105 h 253365"/>
              <a:gd name="T52" fmla="*/ 1538414 w 3090544"/>
              <a:gd name="T53" fmla="*/ 49377 h 253365"/>
              <a:gd name="T54" fmla="*/ 1585315 w 3090544"/>
              <a:gd name="T55" fmla="*/ 124942 h 253365"/>
              <a:gd name="T56" fmla="*/ 1301597 w 3090544"/>
              <a:gd name="T57" fmla="*/ 0 h 253365"/>
              <a:gd name="T58" fmla="*/ 1604314 w 3090544"/>
              <a:gd name="T59" fmla="*/ 245668 h 253365"/>
              <a:gd name="T60" fmla="*/ 1735251 w 3090544"/>
              <a:gd name="T61" fmla="*/ 164058 h 253365"/>
              <a:gd name="T62" fmla="*/ 2206523 w 3090544"/>
              <a:gd name="T63" fmla="*/ 157530 h 253365"/>
              <a:gd name="T64" fmla="*/ 2261095 w 3090544"/>
              <a:gd name="T65" fmla="*/ 106921 h 253365"/>
              <a:gd name="T66" fmla="*/ 2252942 w 3090544"/>
              <a:gd name="T67" fmla="*/ 43802 h 253365"/>
              <a:gd name="T68" fmla="*/ 2154047 w 3090544"/>
              <a:gd name="T69" fmla="*/ 0 h 253365"/>
              <a:gd name="T70" fmla="*/ 1977072 w 3090544"/>
              <a:gd name="T71" fmla="*/ 248894 h 253365"/>
              <a:gd name="T72" fmla="*/ 2073948 w 3090544"/>
              <a:gd name="T73" fmla="*/ 47777 h 253365"/>
              <a:gd name="T74" fmla="*/ 2104517 w 3090544"/>
              <a:gd name="T75" fmla="*/ 89331 h 253365"/>
              <a:gd name="T76" fmla="*/ 2063915 w 3090544"/>
              <a:gd name="T77" fmla="*/ 136613 h 253365"/>
              <a:gd name="T78" fmla="*/ 2081834 w 3090544"/>
              <a:gd name="T79" fmla="*/ 248894 h 253365"/>
              <a:gd name="T80" fmla="*/ 2366886 w 3090544"/>
              <a:gd name="T81" fmla="*/ 12 h 253365"/>
              <a:gd name="T82" fmla="*/ 2523629 w 3090544"/>
              <a:gd name="T83" fmla="*/ 12 h 253365"/>
              <a:gd name="T84" fmla="*/ 3032163 w 3090544"/>
              <a:gd name="T85" fmla="*/ 174459 h 253365"/>
              <a:gd name="T86" fmla="*/ 2845473 w 3090544"/>
              <a:gd name="T87" fmla="*/ 0 h 253365"/>
              <a:gd name="T88" fmla="*/ 2782201 w 3090544"/>
              <a:gd name="T89" fmla="*/ 92595 h 253365"/>
              <a:gd name="T90" fmla="*/ 2688132 w 3090544"/>
              <a:gd name="T91" fmla="*/ 0 h 253365"/>
              <a:gd name="T92" fmla="*/ 2661729 w 3090544"/>
              <a:gd name="T93" fmla="*/ 248894 h 253365"/>
              <a:gd name="T94" fmla="*/ 2902902 w 3090544"/>
              <a:gd name="T95" fmla="*/ 248894 h 25336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3090544" h="253365">
                <a:moveTo>
                  <a:pt x="357009" y="207365"/>
                </a:moveTo>
                <a:lnTo>
                  <a:pt x="353491" y="189585"/>
                </a:lnTo>
                <a:lnTo>
                  <a:pt x="343852" y="175133"/>
                </a:lnTo>
                <a:lnTo>
                  <a:pt x="329476" y="165417"/>
                </a:lnTo>
                <a:lnTo>
                  <a:pt x="311746" y="161861"/>
                </a:lnTo>
                <a:lnTo>
                  <a:pt x="293979" y="165417"/>
                </a:lnTo>
                <a:lnTo>
                  <a:pt x="279577" y="175133"/>
                </a:lnTo>
                <a:lnTo>
                  <a:pt x="269938" y="189585"/>
                </a:lnTo>
                <a:lnTo>
                  <a:pt x="266420" y="207365"/>
                </a:lnTo>
                <a:lnTo>
                  <a:pt x="269938" y="225056"/>
                </a:lnTo>
                <a:lnTo>
                  <a:pt x="279577" y="239534"/>
                </a:lnTo>
                <a:lnTo>
                  <a:pt x="293979" y="249301"/>
                </a:lnTo>
                <a:lnTo>
                  <a:pt x="311746" y="252895"/>
                </a:lnTo>
                <a:lnTo>
                  <a:pt x="329476" y="249301"/>
                </a:lnTo>
                <a:lnTo>
                  <a:pt x="343852" y="239534"/>
                </a:lnTo>
                <a:lnTo>
                  <a:pt x="353491" y="225056"/>
                </a:lnTo>
                <a:lnTo>
                  <a:pt x="357009" y="207365"/>
                </a:lnTo>
                <a:close/>
              </a:path>
              <a:path w="3090544" h="253365">
                <a:moveTo>
                  <a:pt x="622452" y="246989"/>
                </a:moveTo>
                <a:lnTo>
                  <a:pt x="493928" y="81991"/>
                </a:lnTo>
                <a:lnTo>
                  <a:pt x="469874" y="51904"/>
                </a:lnTo>
                <a:lnTo>
                  <a:pt x="413931" y="7061"/>
                </a:lnTo>
                <a:lnTo>
                  <a:pt x="377621" y="12"/>
                </a:lnTo>
                <a:lnTo>
                  <a:pt x="123710" y="12"/>
                </a:lnTo>
                <a:lnTo>
                  <a:pt x="75628" y="9728"/>
                </a:lnTo>
                <a:lnTo>
                  <a:pt x="36296" y="36195"/>
                </a:lnTo>
                <a:lnTo>
                  <a:pt x="9740" y="75450"/>
                </a:lnTo>
                <a:lnTo>
                  <a:pt x="0" y="123494"/>
                </a:lnTo>
                <a:lnTo>
                  <a:pt x="9740" y="171564"/>
                </a:lnTo>
                <a:lnTo>
                  <a:pt x="36296" y="210820"/>
                </a:lnTo>
                <a:lnTo>
                  <a:pt x="75628" y="237286"/>
                </a:lnTo>
                <a:lnTo>
                  <a:pt x="123710" y="246989"/>
                </a:lnTo>
                <a:lnTo>
                  <a:pt x="238823" y="246989"/>
                </a:lnTo>
                <a:lnTo>
                  <a:pt x="238823" y="203530"/>
                </a:lnTo>
                <a:lnTo>
                  <a:pt x="207429" y="197129"/>
                </a:lnTo>
                <a:lnTo>
                  <a:pt x="181724" y="179705"/>
                </a:lnTo>
                <a:lnTo>
                  <a:pt x="164350" y="153962"/>
                </a:lnTo>
                <a:lnTo>
                  <a:pt x="157975" y="122542"/>
                </a:lnTo>
                <a:lnTo>
                  <a:pt x="164363" y="91198"/>
                </a:lnTo>
                <a:lnTo>
                  <a:pt x="181749" y="65608"/>
                </a:lnTo>
                <a:lnTo>
                  <a:pt x="207530" y="48361"/>
                </a:lnTo>
                <a:lnTo>
                  <a:pt x="239064" y="42037"/>
                </a:lnTo>
                <a:lnTo>
                  <a:pt x="258483" y="44411"/>
                </a:lnTo>
                <a:lnTo>
                  <a:pt x="275844" y="51041"/>
                </a:lnTo>
                <a:lnTo>
                  <a:pt x="290817" y="61201"/>
                </a:lnTo>
                <a:lnTo>
                  <a:pt x="303085" y="74142"/>
                </a:lnTo>
                <a:lnTo>
                  <a:pt x="436664" y="246989"/>
                </a:lnTo>
                <a:lnTo>
                  <a:pt x="622452" y="246989"/>
                </a:lnTo>
                <a:close/>
              </a:path>
              <a:path w="3090544" h="253365">
                <a:moveTo>
                  <a:pt x="1268044" y="248894"/>
                </a:moveTo>
                <a:lnTo>
                  <a:pt x="1244193" y="218249"/>
                </a:lnTo>
                <a:lnTo>
                  <a:pt x="1210106" y="174459"/>
                </a:lnTo>
                <a:lnTo>
                  <a:pt x="1146378" y="92595"/>
                </a:lnTo>
                <a:lnTo>
                  <a:pt x="1074293" y="0"/>
                </a:lnTo>
                <a:lnTo>
                  <a:pt x="1023289" y="0"/>
                </a:lnTo>
                <a:lnTo>
                  <a:pt x="1023289" y="174459"/>
                </a:lnTo>
                <a:lnTo>
                  <a:pt x="894892" y="174459"/>
                </a:lnTo>
                <a:lnTo>
                  <a:pt x="960107" y="92595"/>
                </a:lnTo>
                <a:lnTo>
                  <a:pt x="1023289" y="174459"/>
                </a:lnTo>
                <a:lnTo>
                  <a:pt x="1023289" y="0"/>
                </a:lnTo>
                <a:lnTo>
                  <a:pt x="866051" y="0"/>
                </a:lnTo>
                <a:lnTo>
                  <a:pt x="906818" y="52743"/>
                </a:lnTo>
                <a:lnTo>
                  <a:pt x="746315" y="248894"/>
                </a:lnTo>
                <a:lnTo>
                  <a:pt x="839660" y="248894"/>
                </a:lnTo>
                <a:lnTo>
                  <a:pt x="864831" y="218249"/>
                </a:lnTo>
                <a:lnTo>
                  <a:pt x="1057160" y="218249"/>
                </a:lnTo>
                <a:lnTo>
                  <a:pt x="1080795" y="248894"/>
                </a:lnTo>
                <a:lnTo>
                  <a:pt x="1268044" y="248894"/>
                </a:lnTo>
                <a:close/>
              </a:path>
              <a:path w="3090544" h="253365">
                <a:moveTo>
                  <a:pt x="1740636" y="125158"/>
                </a:moveTo>
                <a:lnTo>
                  <a:pt x="1735315" y="86347"/>
                </a:lnTo>
                <a:lnTo>
                  <a:pt x="1706829" y="43764"/>
                </a:lnTo>
                <a:lnTo>
                  <a:pt x="1654098" y="13538"/>
                </a:lnTo>
                <a:lnTo>
                  <a:pt x="1604657" y="3365"/>
                </a:lnTo>
                <a:lnTo>
                  <a:pt x="1585315" y="2298"/>
                </a:lnTo>
                <a:lnTo>
                  <a:pt x="1585315" y="124942"/>
                </a:lnTo>
                <a:lnTo>
                  <a:pt x="1580108" y="158673"/>
                </a:lnTo>
                <a:lnTo>
                  <a:pt x="1564487" y="183870"/>
                </a:lnTo>
                <a:lnTo>
                  <a:pt x="1538516" y="199644"/>
                </a:lnTo>
                <a:lnTo>
                  <a:pt x="1502232" y="205105"/>
                </a:lnTo>
                <a:lnTo>
                  <a:pt x="1458353" y="205105"/>
                </a:lnTo>
                <a:lnTo>
                  <a:pt x="1458353" y="43764"/>
                </a:lnTo>
                <a:lnTo>
                  <a:pt x="1502232" y="43764"/>
                </a:lnTo>
                <a:lnTo>
                  <a:pt x="1538414" y="49377"/>
                </a:lnTo>
                <a:lnTo>
                  <a:pt x="1564398" y="65506"/>
                </a:lnTo>
                <a:lnTo>
                  <a:pt x="1580070" y="91059"/>
                </a:lnTo>
                <a:lnTo>
                  <a:pt x="1585315" y="124942"/>
                </a:lnTo>
                <a:lnTo>
                  <a:pt x="1585315" y="2298"/>
                </a:lnTo>
                <a:lnTo>
                  <a:pt x="1543723" y="0"/>
                </a:lnTo>
                <a:lnTo>
                  <a:pt x="1301597" y="0"/>
                </a:lnTo>
                <a:lnTo>
                  <a:pt x="1301597" y="248894"/>
                </a:lnTo>
                <a:lnTo>
                  <a:pt x="1543723" y="248894"/>
                </a:lnTo>
                <a:lnTo>
                  <a:pt x="1604314" y="245668"/>
                </a:lnTo>
                <a:lnTo>
                  <a:pt x="1653654" y="235839"/>
                </a:lnTo>
                <a:lnTo>
                  <a:pt x="1691855" y="219138"/>
                </a:lnTo>
                <a:lnTo>
                  <a:pt x="1735251" y="164058"/>
                </a:lnTo>
                <a:lnTo>
                  <a:pt x="1740636" y="125158"/>
                </a:lnTo>
                <a:close/>
              </a:path>
              <a:path w="3090544" h="253365">
                <a:moveTo>
                  <a:pt x="2277529" y="248894"/>
                </a:moveTo>
                <a:lnTo>
                  <a:pt x="2206523" y="157530"/>
                </a:lnTo>
                <a:lnTo>
                  <a:pt x="2231339" y="145008"/>
                </a:lnTo>
                <a:lnTo>
                  <a:pt x="2249703" y="127965"/>
                </a:lnTo>
                <a:lnTo>
                  <a:pt x="2261095" y="106921"/>
                </a:lnTo>
                <a:lnTo>
                  <a:pt x="2265019" y="82397"/>
                </a:lnTo>
                <a:lnTo>
                  <a:pt x="2258149" y="50393"/>
                </a:lnTo>
                <a:lnTo>
                  <a:pt x="2252942" y="43802"/>
                </a:lnTo>
                <a:lnTo>
                  <a:pt x="2237448" y="24193"/>
                </a:lnTo>
                <a:lnTo>
                  <a:pt x="2202789" y="6502"/>
                </a:lnTo>
                <a:lnTo>
                  <a:pt x="2154047" y="0"/>
                </a:lnTo>
                <a:lnTo>
                  <a:pt x="1820545" y="0"/>
                </a:lnTo>
                <a:lnTo>
                  <a:pt x="1820545" y="248894"/>
                </a:lnTo>
                <a:lnTo>
                  <a:pt x="1977072" y="248894"/>
                </a:lnTo>
                <a:lnTo>
                  <a:pt x="1977072" y="43802"/>
                </a:lnTo>
                <a:lnTo>
                  <a:pt x="2047989" y="43802"/>
                </a:lnTo>
                <a:lnTo>
                  <a:pt x="2073948" y="47777"/>
                </a:lnTo>
                <a:lnTo>
                  <a:pt x="2091486" y="58178"/>
                </a:lnTo>
                <a:lnTo>
                  <a:pt x="2101392" y="72783"/>
                </a:lnTo>
                <a:lnTo>
                  <a:pt x="2104517" y="89331"/>
                </a:lnTo>
                <a:lnTo>
                  <a:pt x="2098624" y="111201"/>
                </a:lnTo>
                <a:lnTo>
                  <a:pt x="2083714" y="127012"/>
                </a:lnTo>
                <a:lnTo>
                  <a:pt x="2063915" y="136613"/>
                </a:lnTo>
                <a:lnTo>
                  <a:pt x="2043353" y="139852"/>
                </a:lnTo>
                <a:lnTo>
                  <a:pt x="2022157" y="139852"/>
                </a:lnTo>
                <a:lnTo>
                  <a:pt x="2081834" y="248894"/>
                </a:lnTo>
                <a:lnTo>
                  <a:pt x="2277529" y="248894"/>
                </a:lnTo>
                <a:close/>
              </a:path>
              <a:path w="3090544" h="253365">
                <a:moveTo>
                  <a:pt x="2523629" y="12"/>
                </a:moveTo>
                <a:lnTo>
                  <a:pt x="2366886" y="12"/>
                </a:lnTo>
                <a:lnTo>
                  <a:pt x="2366886" y="248894"/>
                </a:lnTo>
                <a:lnTo>
                  <a:pt x="2523629" y="248894"/>
                </a:lnTo>
                <a:lnTo>
                  <a:pt x="2523629" y="12"/>
                </a:lnTo>
                <a:close/>
              </a:path>
              <a:path w="3090544" h="253365">
                <a:moveTo>
                  <a:pt x="3090049" y="248894"/>
                </a:moveTo>
                <a:lnTo>
                  <a:pt x="3066224" y="218249"/>
                </a:lnTo>
                <a:lnTo>
                  <a:pt x="3032163" y="174459"/>
                </a:lnTo>
                <a:lnTo>
                  <a:pt x="2968498" y="92595"/>
                </a:lnTo>
                <a:lnTo>
                  <a:pt x="2896476" y="0"/>
                </a:lnTo>
                <a:lnTo>
                  <a:pt x="2845473" y="0"/>
                </a:lnTo>
                <a:lnTo>
                  <a:pt x="2845473" y="174459"/>
                </a:lnTo>
                <a:lnTo>
                  <a:pt x="2716720" y="174459"/>
                </a:lnTo>
                <a:lnTo>
                  <a:pt x="2782201" y="92595"/>
                </a:lnTo>
                <a:lnTo>
                  <a:pt x="2845473" y="174459"/>
                </a:lnTo>
                <a:lnTo>
                  <a:pt x="2845473" y="0"/>
                </a:lnTo>
                <a:lnTo>
                  <a:pt x="2688132" y="0"/>
                </a:lnTo>
                <a:lnTo>
                  <a:pt x="2728988" y="52743"/>
                </a:lnTo>
                <a:lnTo>
                  <a:pt x="2568397" y="248894"/>
                </a:lnTo>
                <a:lnTo>
                  <a:pt x="2661729" y="248894"/>
                </a:lnTo>
                <a:lnTo>
                  <a:pt x="2686913" y="218249"/>
                </a:lnTo>
                <a:lnTo>
                  <a:pt x="2879267" y="218249"/>
                </a:lnTo>
                <a:lnTo>
                  <a:pt x="2902902" y="248894"/>
                </a:lnTo>
                <a:lnTo>
                  <a:pt x="3090049" y="248894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en-AU"/>
          </a:p>
        </p:txBody>
      </p:sp>
      <p:sp>
        <p:nvSpPr>
          <p:cNvPr id="7" name="object 2">
            <a:extLst>
              <a:ext uri="{FF2B5EF4-FFF2-40B4-BE49-F238E27FC236}">
                <a16:creationId xmlns:a16="http://schemas.microsoft.com/office/drawing/2014/main" id="{A86DB3B1-BDA9-9313-AF3C-692941379D54}"/>
              </a:ext>
            </a:extLst>
          </p:cNvPr>
          <p:cNvSpPr txBox="1"/>
          <p:nvPr userDrawn="1"/>
        </p:nvSpPr>
        <p:spPr>
          <a:xfrm>
            <a:off x="5835650" y="1758950"/>
            <a:ext cx="8432800" cy="1133475"/>
          </a:xfrm>
          <a:prstGeom prst="rect">
            <a:avLst/>
          </a:prstGeom>
        </p:spPr>
        <p:txBody>
          <a:bodyPr lIns="0" tIns="89535" rIns="0" bIns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it-IT" sz="2400" b="1" spc="300" dirty="0">
                <a:latin typeface="Helvetica Neue" panose="02000503000000020004" pitchFamily="2" charset="0"/>
              </a:rPr>
              <a:t>DESIGNED FOR YOU</a:t>
            </a:r>
            <a:endParaRPr lang="it-IT" sz="2400" spc="300" dirty="0">
              <a:latin typeface="Helvetica Neue" panose="02000503000000020004" pitchFamily="2" charset="0"/>
            </a:endParaRPr>
          </a:p>
          <a:p>
            <a:pPr algn="ctr" eaLnBrk="1" fontAlgn="auto" hangingPunct="1">
              <a:spcBef>
                <a:spcPts val="975"/>
              </a:spcBef>
              <a:spcAft>
                <a:spcPts val="0"/>
              </a:spcAft>
              <a:defRPr/>
            </a:pPr>
            <a:r>
              <a:rPr lang="it-IT" sz="3550" b="1" spc="300" dirty="0">
                <a:solidFill>
                  <a:srgbClr val="666666"/>
                </a:solidFill>
                <a:latin typeface="Helvetica Neue"/>
                <a:cs typeface="Helvetica Neue"/>
              </a:rPr>
              <a:t>LAYOUTS</a:t>
            </a:r>
            <a:endParaRPr lang="it-IT" sz="3550" spc="300" dirty="0">
              <a:latin typeface="Helvetica Neue"/>
              <a:cs typeface="Helvetica Neue"/>
            </a:endParaRPr>
          </a:p>
        </p:txBody>
      </p:sp>
      <p:sp>
        <p:nvSpPr>
          <p:cNvPr id="8" name="object 20">
            <a:extLst>
              <a:ext uri="{FF2B5EF4-FFF2-40B4-BE49-F238E27FC236}">
                <a16:creationId xmlns:a16="http://schemas.microsoft.com/office/drawing/2014/main" id="{E06F4965-FEF8-E3EC-FEC9-CA9FDDB17525}"/>
              </a:ext>
            </a:extLst>
          </p:cNvPr>
          <p:cNvSpPr>
            <a:spLocks/>
          </p:cNvSpPr>
          <p:nvPr userDrawn="1"/>
        </p:nvSpPr>
        <p:spPr bwMode="auto">
          <a:xfrm>
            <a:off x="8042275" y="6440488"/>
            <a:ext cx="739775" cy="739775"/>
          </a:xfrm>
          <a:custGeom>
            <a:avLst/>
            <a:gdLst>
              <a:gd name="T0" fmla="*/ 369831 w 739775"/>
              <a:gd name="T1" fmla="*/ 0 h 739775"/>
              <a:gd name="T2" fmla="*/ 323440 w 739775"/>
              <a:gd name="T3" fmla="*/ 2881 h 739775"/>
              <a:gd name="T4" fmla="*/ 278768 w 739775"/>
              <a:gd name="T5" fmla="*/ 11295 h 739775"/>
              <a:gd name="T6" fmla="*/ 236163 w 739775"/>
              <a:gd name="T7" fmla="*/ 24894 h 739775"/>
              <a:gd name="T8" fmla="*/ 195970 w 739775"/>
              <a:gd name="T9" fmla="*/ 43333 h 739775"/>
              <a:gd name="T10" fmla="*/ 158537 w 739775"/>
              <a:gd name="T11" fmla="*/ 66263 h 739775"/>
              <a:gd name="T12" fmla="*/ 124210 w 739775"/>
              <a:gd name="T13" fmla="*/ 93339 h 739775"/>
              <a:gd name="T14" fmla="*/ 93335 w 739775"/>
              <a:gd name="T15" fmla="*/ 124214 h 739775"/>
              <a:gd name="T16" fmla="*/ 66260 w 739775"/>
              <a:gd name="T17" fmla="*/ 158542 h 739775"/>
              <a:gd name="T18" fmla="*/ 43330 w 739775"/>
              <a:gd name="T19" fmla="*/ 195975 h 739775"/>
              <a:gd name="T20" fmla="*/ 24893 w 739775"/>
              <a:gd name="T21" fmla="*/ 236167 h 739775"/>
              <a:gd name="T22" fmla="*/ 11294 w 739775"/>
              <a:gd name="T23" fmla="*/ 278771 h 739775"/>
              <a:gd name="T24" fmla="*/ 2881 w 739775"/>
              <a:gd name="T25" fmla="*/ 323442 h 739775"/>
              <a:gd name="T26" fmla="*/ 0 w 739775"/>
              <a:gd name="T27" fmla="*/ 369831 h 739775"/>
              <a:gd name="T28" fmla="*/ 2881 w 739775"/>
              <a:gd name="T29" fmla="*/ 416223 h 739775"/>
              <a:gd name="T30" fmla="*/ 11294 w 739775"/>
              <a:gd name="T31" fmla="*/ 460894 h 739775"/>
              <a:gd name="T32" fmla="*/ 24893 w 739775"/>
              <a:gd name="T33" fmla="*/ 503500 h 739775"/>
              <a:gd name="T34" fmla="*/ 43330 w 739775"/>
              <a:gd name="T35" fmla="*/ 543692 h 739775"/>
              <a:gd name="T36" fmla="*/ 66260 w 739775"/>
              <a:gd name="T37" fmla="*/ 581125 h 739775"/>
              <a:gd name="T38" fmla="*/ 93335 w 739775"/>
              <a:gd name="T39" fmla="*/ 615452 h 739775"/>
              <a:gd name="T40" fmla="*/ 124210 w 739775"/>
              <a:gd name="T41" fmla="*/ 646327 h 739775"/>
              <a:gd name="T42" fmla="*/ 158537 w 739775"/>
              <a:gd name="T43" fmla="*/ 673402 h 739775"/>
              <a:gd name="T44" fmla="*/ 195970 w 739775"/>
              <a:gd name="T45" fmla="*/ 696332 h 739775"/>
              <a:gd name="T46" fmla="*/ 236163 w 739775"/>
              <a:gd name="T47" fmla="*/ 714769 h 739775"/>
              <a:gd name="T48" fmla="*/ 278768 w 739775"/>
              <a:gd name="T49" fmla="*/ 728368 h 739775"/>
              <a:gd name="T50" fmla="*/ 323440 w 739775"/>
              <a:gd name="T51" fmla="*/ 736781 h 739775"/>
              <a:gd name="T52" fmla="*/ 369831 w 739775"/>
              <a:gd name="T53" fmla="*/ 739663 h 739775"/>
              <a:gd name="T54" fmla="*/ 416223 w 739775"/>
              <a:gd name="T55" fmla="*/ 736781 h 739775"/>
              <a:gd name="T56" fmla="*/ 460894 w 739775"/>
              <a:gd name="T57" fmla="*/ 728368 h 739775"/>
              <a:gd name="T58" fmla="*/ 503500 w 739775"/>
              <a:gd name="T59" fmla="*/ 714769 h 739775"/>
              <a:gd name="T60" fmla="*/ 543692 w 739775"/>
              <a:gd name="T61" fmla="*/ 696332 h 739775"/>
              <a:gd name="T62" fmla="*/ 581125 w 739775"/>
              <a:gd name="T63" fmla="*/ 673402 h 739775"/>
              <a:gd name="T64" fmla="*/ 615452 w 739775"/>
              <a:gd name="T65" fmla="*/ 646327 h 739775"/>
              <a:gd name="T66" fmla="*/ 646327 w 739775"/>
              <a:gd name="T67" fmla="*/ 615452 h 739775"/>
              <a:gd name="T68" fmla="*/ 673402 w 739775"/>
              <a:gd name="T69" fmla="*/ 581125 h 739775"/>
              <a:gd name="T70" fmla="*/ 696332 w 739775"/>
              <a:gd name="T71" fmla="*/ 543692 h 739775"/>
              <a:gd name="T72" fmla="*/ 714769 w 739775"/>
              <a:gd name="T73" fmla="*/ 503500 h 739775"/>
              <a:gd name="T74" fmla="*/ 728368 w 739775"/>
              <a:gd name="T75" fmla="*/ 460894 h 739775"/>
              <a:gd name="T76" fmla="*/ 736781 w 739775"/>
              <a:gd name="T77" fmla="*/ 416223 h 739775"/>
              <a:gd name="T78" fmla="*/ 739663 w 739775"/>
              <a:gd name="T79" fmla="*/ 369831 h 739775"/>
              <a:gd name="T80" fmla="*/ 736781 w 739775"/>
              <a:gd name="T81" fmla="*/ 323442 h 739775"/>
              <a:gd name="T82" fmla="*/ 728368 w 739775"/>
              <a:gd name="T83" fmla="*/ 278771 h 739775"/>
              <a:gd name="T84" fmla="*/ 714769 w 739775"/>
              <a:gd name="T85" fmla="*/ 236167 h 739775"/>
              <a:gd name="T86" fmla="*/ 696332 w 739775"/>
              <a:gd name="T87" fmla="*/ 195975 h 739775"/>
              <a:gd name="T88" fmla="*/ 673402 w 739775"/>
              <a:gd name="T89" fmla="*/ 158542 h 739775"/>
              <a:gd name="T90" fmla="*/ 646327 w 739775"/>
              <a:gd name="T91" fmla="*/ 124214 h 739775"/>
              <a:gd name="T92" fmla="*/ 615452 w 739775"/>
              <a:gd name="T93" fmla="*/ 93339 h 739775"/>
              <a:gd name="T94" fmla="*/ 581125 w 739775"/>
              <a:gd name="T95" fmla="*/ 66263 h 739775"/>
              <a:gd name="T96" fmla="*/ 543692 w 739775"/>
              <a:gd name="T97" fmla="*/ 43333 h 739775"/>
              <a:gd name="T98" fmla="*/ 503500 w 739775"/>
              <a:gd name="T99" fmla="*/ 24894 h 739775"/>
              <a:gd name="T100" fmla="*/ 460894 w 739775"/>
              <a:gd name="T101" fmla="*/ 11295 h 739775"/>
              <a:gd name="T102" fmla="*/ 416223 w 739775"/>
              <a:gd name="T103" fmla="*/ 2881 h 739775"/>
              <a:gd name="T104" fmla="*/ 369831 w 739775"/>
              <a:gd name="T105" fmla="*/ 0 h 7397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739775" h="739775">
                <a:moveTo>
                  <a:pt x="369831" y="0"/>
                </a:moveTo>
                <a:lnTo>
                  <a:pt x="323440" y="2881"/>
                </a:lnTo>
                <a:lnTo>
                  <a:pt x="278768" y="11295"/>
                </a:lnTo>
                <a:lnTo>
                  <a:pt x="236163" y="24894"/>
                </a:lnTo>
                <a:lnTo>
                  <a:pt x="195970" y="43333"/>
                </a:lnTo>
                <a:lnTo>
                  <a:pt x="158537" y="66263"/>
                </a:lnTo>
                <a:lnTo>
                  <a:pt x="124210" y="93339"/>
                </a:lnTo>
                <a:lnTo>
                  <a:pt x="93335" y="124214"/>
                </a:lnTo>
                <a:lnTo>
                  <a:pt x="66260" y="158542"/>
                </a:lnTo>
                <a:lnTo>
                  <a:pt x="43330" y="195975"/>
                </a:lnTo>
                <a:lnTo>
                  <a:pt x="24893" y="236167"/>
                </a:lnTo>
                <a:lnTo>
                  <a:pt x="11294" y="278771"/>
                </a:lnTo>
                <a:lnTo>
                  <a:pt x="2881" y="323442"/>
                </a:lnTo>
                <a:lnTo>
                  <a:pt x="0" y="369831"/>
                </a:lnTo>
                <a:lnTo>
                  <a:pt x="2881" y="416223"/>
                </a:lnTo>
                <a:lnTo>
                  <a:pt x="11294" y="460894"/>
                </a:lnTo>
                <a:lnTo>
                  <a:pt x="24893" y="503500"/>
                </a:lnTo>
                <a:lnTo>
                  <a:pt x="43330" y="543692"/>
                </a:lnTo>
                <a:lnTo>
                  <a:pt x="66260" y="581125"/>
                </a:lnTo>
                <a:lnTo>
                  <a:pt x="93335" y="615452"/>
                </a:lnTo>
                <a:lnTo>
                  <a:pt x="124210" y="646327"/>
                </a:lnTo>
                <a:lnTo>
                  <a:pt x="158537" y="673402"/>
                </a:lnTo>
                <a:lnTo>
                  <a:pt x="195970" y="696332"/>
                </a:lnTo>
                <a:lnTo>
                  <a:pt x="236163" y="714769"/>
                </a:lnTo>
                <a:lnTo>
                  <a:pt x="278768" y="728368"/>
                </a:lnTo>
                <a:lnTo>
                  <a:pt x="323440" y="736781"/>
                </a:lnTo>
                <a:lnTo>
                  <a:pt x="369831" y="739663"/>
                </a:lnTo>
                <a:lnTo>
                  <a:pt x="416223" y="736781"/>
                </a:lnTo>
                <a:lnTo>
                  <a:pt x="460894" y="728368"/>
                </a:lnTo>
                <a:lnTo>
                  <a:pt x="503500" y="714769"/>
                </a:lnTo>
                <a:lnTo>
                  <a:pt x="543692" y="696332"/>
                </a:lnTo>
                <a:lnTo>
                  <a:pt x="581125" y="673402"/>
                </a:lnTo>
                <a:lnTo>
                  <a:pt x="615452" y="646327"/>
                </a:lnTo>
                <a:lnTo>
                  <a:pt x="646327" y="615452"/>
                </a:lnTo>
                <a:lnTo>
                  <a:pt x="673402" y="581125"/>
                </a:lnTo>
                <a:lnTo>
                  <a:pt x="696332" y="543692"/>
                </a:lnTo>
                <a:lnTo>
                  <a:pt x="714769" y="503500"/>
                </a:lnTo>
                <a:lnTo>
                  <a:pt x="728368" y="460894"/>
                </a:lnTo>
                <a:lnTo>
                  <a:pt x="736781" y="416223"/>
                </a:lnTo>
                <a:lnTo>
                  <a:pt x="739663" y="369831"/>
                </a:lnTo>
                <a:lnTo>
                  <a:pt x="736781" y="323442"/>
                </a:lnTo>
                <a:lnTo>
                  <a:pt x="728368" y="278771"/>
                </a:lnTo>
                <a:lnTo>
                  <a:pt x="714769" y="236167"/>
                </a:lnTo>
                <a:lnTo>
                  <a:pt x="696332" y="195975"/>
                </a:lnTo>
                <a:lnTo>
                  <a:pt x="673402" y="158542"/>
                </a:lnTo>
                <a:lnTo>
                  <a:pt x="646327" y="124214"/>
                </a:lnTo>
                <a:lnTo>
                  <a:pt x="615452" y="93339"/>
                </a:lnTo>
                <a:lnTo>
                  <a:pt x="581125" y="66263"/>
                </a:lnTo>
                <a:lnTo>
                  <a:pt x="543692" y="43333"/>
                </a:lnTo>
                <a:lnTo>
                  <a:pt x="503500" y="24894"/>
                </a:lnTo>
                <a:lnTo>
                  <a:pt x="460894" y="11295"/>
                </a:lnTo>
                <a:lnTo>
                  <a:pt x="416223" y="2881"/>
                </a:lnTo>
                <a:lnTo>
                  <a:pt x="369831" y="0"/>
                </a:lnTo>
                <a:close/>
              </a:path>
            </a:pathLst>
          </a:custGeom>
          <a:solidFill>
            <a:srgbClr val="E5E5E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en-AU"/>
          </a:p>
        </p:txBody>
      </p:sp>
      <p:sp>
        <p:nvSpPr>
          <p:cNvPr id="9" name="object 21">
            <a:extLst>
              <a:ext uri="{FF2B5EF4-FFF2-40B4-BE49-F238E27FC236}">
                <a16:creationId xmlns:a16="http://schemas.microsoft.com/office/drawing/2014/main" id="{6C5E1D19-F04E-7A2B-DBF4-F4A017FB0D01}"/>
              </a:ext>
            </a:extLst>
          </p:cNvPr>
          <p:cNvSpPr txBox="1"/>
          <p:nvPr userDrawn="1"/>
        </p:nvSpPr>
        <p:spPr>
          <a:xfrm>
            <a:off x="8164513" y="6727825"/>
            <a:ext cx="493712" cy="177800"/>
          </a:xfrm>
          <a:prstGeom prst="rect">
            <a:avLst/>
          </a:prstGeom>
        </p:spPr>
        <p:txBody>
          <a:bodyPr lIns="0" tIns="15875" rIns="0" bIns="0">
            <a:spAutoFit/>
          </a:bodyPr>
          <a:lstStyle/>
          <a:p>
            <a:pPr marL="12700" algn="ctr" eaLnBrk="1" fontAlgn="auto" hangingPunct="1">
              <a:spcBef>
                <a:spcPts val="125"/>
              </a:spcBef>
              <a:spcAft>
                <a:spcPts val="0"/>
              </a:spcAft>
              <a:defRPr/>
            </a:pPr>
            <a:r>
              <a:rPr lang="it-IT" sz="1050" b="1" spc="135" dirty="0">
                <a:latin typeface="Helvetica Neue"/>
                <a:cs typeface="Helvetica Neue"/>
              </a:rPr>
              <a:t>ALKO</a:t>
            </a:r>
            <a:endParaRPr sz="1050" dirty="0">
              <a:latin typeface="Helvetica Neue"/>
              <a:cs typeface="Helvetica Neue"/>
            </a:endParaRPr>
          </a:p>
        </p:txBody>
      </p:sp>
      <p:sp>
        <p:nvSpPr>
          <p:cNvPr id="10" name="object 24">
            <a:extLst>
              <a:ext uri="{FF2B5EF4-FFF2-40B4-BE49-F238E27FC236}">
                <a16:creationId xmlns:a16="http://schemas.microsoft.com/office/drawing/2014/main" id="{73A09BDB-3E41-9F7E-CB08-421D1E023F9E}"/>
              </a:ext>
            </a:extLst>
          </p:cNvPr>
          <p:cNvSpPr>
            <a:spLocks/>
          </p:cNvSpPr>
          <p:nvPr userDrawn="1"/>
        </p:nvSpPr>
        <p:spPr bwMode="auto">
          <a:xfrm>
            <a:off x="8042275" y="7342188"/>
            <a:ext cx="739775" cy="739775"/>
          </a:xfrm>
          <a:custGeom>
            <a:avLst/>
            <a:gdLst>
              <a:gd name="T0" fmla="*/ 369831 w 739775"/>
              <a:gd name="T1" fmla="*/ 0 h 739775"/>
              <a:gd name="T2" fmla="*/ 323440 w 739775"/>
              <a:gd name="T3" fmla="*/ 2881 h 739775"/>
              <a:gd name="T4" fmla="*/ 278768 w 739775"/>
              <a:gd name="T5" fmla="*/ 11295 h 739775"/>
              <a:gd name="T6" fmla="*/ 236163 w 739775"/>
              <a:gd name="T7" fmla="*/ 24894 h 739775"/>
              <a:gd name="T8" fmla="*/ 195970 w 739775"/>
              <a:gd name="T9" fmla="*/ 43333 h 739775"/>
              <a:gd name="T10" fmla="*/ 158537 w 739775"/>
              <a:gd name="T11" fmla="*/ 66263 h 739775"/>
              <a:gd name="T12" fmla="*/ 124210 w 739775"/>
              <a:gd name="T13" fmla="*/ 93339 h 739775"/>
              <a:gd name="T14" fmla="*/ 93335 w 739775"/>
              <a:gd name="T15" fmla="*/ 124214 h 739775"/>
              <a:gd name="T16" fmla="*/ 66260 w 739775"/>
              <a:gd name="T17" fmla="*/ 158542 h 739775"/>
              <a:gd name="T18" fmla="*/ 43330 w 739775"/>
              <a:gd name="T19" fmla="*/ 195975 h 739775"/>
              <a:gd name="T20" fmla="*/ 24893 w 739775"/>
              <a:gd name="T21" fmla="*/ 236167 h 739775"/>
              <a:gd name="T22" fmla="*/ 11294 w 739775"/>
              <a:gd name="T23" fmla="*/ 278771 h 739775"/>
              <a:gd name="T24" fmla="*/ 2881 w 739775"/>
              <a:gd name="T25" fmla="*/ 323442 h 739775"/>
              <a:gd name="T26" fmla="*/ 0 w 739775"/>
              <a:gd name="T27" fmla="*/ 369831 h 739775"/>
              <a:gd name="T28" fmla="*/ 2881 w 739775"/>
              <a:gd name="T29" fmla="*/ 416223 h 739775"/>
              <a:gd name="T30" fmla="*/ 11294 w 739775"/>
              <a:gd name="T31" fmla="*/ 460894 h 739775"/>
              <a:gd name="T32" fmla="*/ 24893 w 739775"/>
              <a:gd name="T33" fmla="*/ 503500 h 739775"/>
              <a:gd name="T34" fmla="*/ 43330 w 739775"/>
              <a:gd name="T35" fmla="*/ 543692 h 739775"/>
              <a:gd name="T36" fmla="*/ 66260 w 739775"/>
              <a:gd name="T37" fmla="*/ 581125 h 739775"/>
              <a:gd name="T38" fmla="*/ 93335 w 739775"/>
              <a:gd name="T39" fmla="*/ 615452 h 739775"/>
              <a:gd name="T40" fmla="*/ 124210 w 739775"/>
              <a:gd name="T41" fmla="*/ 646327 h 739775"/>
              <a:gd name="T42" fmla="*/ 158537 w 739775"/>
              <a:gd name="T43" fmla="*/ 673402 h 739775"/>
              <a:gd name="T44" fmla="*/ 195970 w 739775"/>
              <a:gd name="T45" fmla="*/ 696332 h 739775"/>
              <a:gd name="T46" fmla="*/ 236163 w 739775"/>
              <a:gd name="T47" fmla="*/ 714769 h 739775"/>
              <a:gd name="T48" fmla="*/ 278768 w 739775"/>
              <a:gd name="T49" fmla="*/ 728368 h 739775"/>
              <a:gd name="T50" fmla="*/ 323440 w 739775"/>
              <a:gd name="T51" fmla="*/ 736781 h 739775"/>
              <a:gd name="T52" fmla="*/ 369831 w 739775"/>
              <a:gd name="T53" fmla="*/ 739663 h 739775"/>
              <a:gd name="T54" fmla="*/ 416223 w 739775"/>
              <a:gd name="T55" fmla="*/ 736781 h 739775"/>
              <a:gd name="T56" fmla="*/ 460894 w 739775"/>
              <a:gd name="T57" fmla="*/ 728368 h 739775"/>
              <a:gd name="T58" fmla="*/ 503500 w 739775"/>
              <a:gd name="T59" fmla="*/ 714769 h 739775"/>
              <a:gd name="T60" fmla="*/ 543692 w 739775"/>
              <a:gd name="T61" fmla="*/ 696332 h 739775"/>
              <a:gd name="T62" fmla="*/ 581125 w 739775"/>
              <a:gd name="T63" fmla="*/ 673402 h 739775"/>
              <a:gd name="T64" fmla="*/ 615452 w 739775"/>
              <a:gd name="T65" fmla="*/ 646327 h 739775"/>
              <a:gd name="T66" fmla="*/ 646327 w 739775"/>
              <a:gd name="T67" fmla="*/ 615452 h 739775"/>
              <a:gd name="T68" fmla="*/ 673402 w 739775"/>
              <a:gd name="T69" fmla="*/ 581125 h 739775"/>
              <a:gd name="T70" fmla="*/ 696332 w 739775"/>
              <a:gd name="T71" fmla="*/ 543692 h 739775"/>
              <a:gd name="T72" fmla="*/ 714769 w 739775"/>
              <a:gd name="T73" fmla="*/ 503500 h 739775"/>
              <a:gd name="T74" fmla="*/ 728368 w 739775"/>
              <a:gd name="T75" fmla="*/ 460894 h 739775"/>
              <a:gd name="T76" fmla="*/ 736781 w 739775"/>
              <a:gd name="T77" fmla="*/ 416223 h 739775"/>
              <a:gd name="T78" fmla="*/ 739663 w 739775"/>
              <a:gd name="T79" fmla="*/ 369831 h 739775"/>
              <a:gd name="T80" fmla="*/ 736781 w 739775"/>
              <a:gd name="T81" fmla="*/ 323442 h 739775"/>
              <a:gd name="T82" fmla="*/ 728368 w 739775"/>
              <a:gd name="T83" fmla="*/ 278771 h 739775"/>
              <a:gd name="T84" fmla="*/ 714769 w 739775"/>
              <a:gd name="T85" fmla="*/ 236167 h 739775"/>
              <a:gd name="T86" fmla="*/ 696332 w 739775"/>
              <a:gd name="T87" fmla="*/ 195975 h 739775"/>
              <a:gd name="T88" fmla="*/ 673402 w 739775"/>
              <a:gd name="T89" fmla="*/ 158542 h 739775"/>
              <a:gd name="T90" fmla="*/ 646327 w 739775"/>
              <a:gd name="T91" fmla="*/ 124214 h 739775"/>
              <a:gd name="T92" fmla="*/ 615452 w 739775"/>
              <a:gd name="T93" fmla="*/ 93339 h 739775"/>
              <a:gd name="T94" fmla="*/ 581125 w 739775"/>
              <a:gd name="T95" fmla="*/ 66263 h 739775"/>
              <a:gd name="T96" fmla="*/ 543692 w 739775"/>
              <a:gd name="T97" fmla="*/ 43333 h 739775"/>
              <a:gd name="T98" fmla="*/ 503500 w 739775"/>
              <a:gd name="T99" fmla="*/ 24894 h 739775"/>
              <a:gd name="T100" fmla="*/ 460894 w 739775"/>
              <a:gd name="T101" fmla="*/ 11295 h 739775"/>
              <a:gd name="T102" fmla="*/ 416223 w 739775"/>
              <a:gd name="T103" fmla="*/ 2881 h 739775"/>
              <a:gd name="T104" fmla="*/ 369831 w 739775"/>
              <a:gd name="T105" fmla="*/ 0 h 7397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739775" h="739775">
                <a:moveTo>
                  <a:pt x="369831" y="0"/>
                </a:moveTo>
                <a:lnTo>
                  <a:pt x="323440" y="2881"/>
                </a:lnTo>
                <a:lnTo>
                  <a:pt x="278768" y="11295"/>
                </a:lnTo>
                <a:lnTo>
                  <a:pt x="236163" y="24894"/>
                </a:lnTo>
                <a:lnTo>
                  <a:pt x="195970" y="43333"/>
                </a:lnTo>
                <a:lnTo>
                  <a:pt x="158537" y="66263"/>
                </a:lnTo>
                <a:lnTo>
                  <a:pt x="124210" y="93339"/>
                </a:lnTo>
                <a:lnTo>
                  <a:pt x="93335" y="124214"/>
                </a:lnTo>
                <a:lnTo>
                  <a:pt x="66260" y="158542"/>
                </a:lnTo>
                <a:lnTo>
                  <a:pt x="43330" y="195975"/>
                </a:lnTo>
                <a:lnTo>
                  <a:pt x="24893" y="236167"/>
                </a:lnTo>
                <a:lnTo>
                  <a:pt x="11294" y="278771"/>
                </a:lnTo>
                <a:lnTo>
                  <a:pt x="2881" y="323442"/>
                </a:lnTo>
                <a:lnTo>
                  <a:pt x="0" y="369831"/>
                </a:lnTo>
                <a:lnTo>
                  <a:pt x="2881" y="416223"/>
                </a:lnTo>
                <a:lnTo>
                  <a:pt x="11294" y="460894"/>
                </a:lnTo>
                <a:lnTo>
                  <a:pt x="24893" y="503500"/>
                </a:lnTo>
                <a:lnTo>
                  <a:pt x="43330" y="543692"/>
                </a:lnTo>
                <a:lnTo>
                  <a:pt x="66260" y="581125"/>
                </a:lnTo>
                <a:lnTo>
                  <a:pt x="93335" y="615452"/>
                </a:lnTo>
                <a:lnTo>
                  <a:pt x="124210" y="646327"/>
                </a:lnTo>
                <a:lnTo>
                  <a:pt x="158537" y="673402"/>
                </a:lnTo>
                <a:lnTo>
                  <a:pt x="195970" y="696332"/>
                </a:lnTo>
                <a:lnTo>
                  <a:pt x="236163" y="714769"/>
                </a:lnTo>
                <a:lnTo>
                  <a:pt x="278768" y="728368"/>
                </a:lnTo>
                <a:lnTo>
                  <a:pt x="323440" y="736781"/>
                </a:lnTo>
                <a:lnTo>
                  <a:pt x="369831" y="739663"/>
                </a:lnTo>
                <a:lnTo>
                  <a:pt x="416223" y="736781"/>
                </a:lnTo>
                <a:lnTo>
                  <a:pt x="460894" y="728368"/>
                </a:lnTo>
                <a:lnTo>
                  <a:pt x="503500" y="714769"/>
                </a:lnTo>
                <a:lnTo>
                  <a:pt x="543692" y="696332"/>
                </a:lnTo>
                <a:lnTo>
                  <a:pt x="581125" y="673402"/>
                </a:lnTo>
                <a:lnTo>
                  <a:pt x="615452" y="646327"/>
                </a:lnTo>
                <a:lnTo>
                  <a:pt x="646327" y="615452"/>
                </a:lnTo>
                <a:lnTo>
                  <a:pt x="673402" y="581125"/>
                </a:lnTo>
                <a:lnTo>
                  <a:pt x="696332" y="543692"/>
                </a:lnTo>
                <a:lnTo>
                  <a:pt x="714769" y="503500"/>
                </a:lnTo>
                <a:lnTo>
                  <a:pt x="728368" y="460894"/>
                </a:lnTo>
                <a:lnTo>
                  <a:pt x="736781" y="416223"/>
                </a:lnTo>
                <a:lnTo>
                  <a:pt x="739663" y="369831"/>
                </a:lnTo>
                <a:lnTo>
                  <a:pt x="736781" y="323442"/>
                </a:lnTo>
                <a:lnTo>
                  <a:pt x="728368" y="278771"/>
                </a:lnTo>
                <a:lnTo>
                  <a:pt x="714769" y="236167"/>
                </a:lnTo>
                <a:lnTo>
                  <a:pt x="696332" y="195975"/>
                </a:lnTo>
                <a:lnTo>
                  <a:pt x="673402" y="158542"/>
                </a:lnTo>
                <a:lnTo>
                  <a:pt x="646327" y="124214"/>
                </a:lnTo>
                <a:lnTo>
                  <a:pt x="615452" y="93339"/>
                </a:lnTo>
                <a:lnTo>
                  <a:pt x="581125" y="66263"/>
                </a:lnTo>
                <a:lnTo>
                  <a:pt x="543692" y="43333"/>
                </a:lnTo>
                <a:lnTo>
                  <a:pt x="503500" y="24894"/>
                </a:lnTo>
                <a:lnTo>
                  <a:pt x="460894" y="11295"/>
                </a:lnTo>
                <a:lnTo>
                  <a:pt x="416223" y="2881"/>
                </a:lnTo>
                <a:lnTo>
                  <a:pt x="369831" y="0"/>
                </a:lnTo>
                <a:close/>
              </a:path>
            </a:pathLst>
          </a:custGeom>
          <a:solidFill>
            <a:srgbClr val="E5E5E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en-AU"/>
          </a:p>
        </p:txBody>
      </p:sp>
      <p:sp>
        <p:nvSpPr>
          <p:cNvPr id="11" name="object 25">
            <a:extLst>
              <a:ext uri="{FF2B5EF4-FFF2-40B4-BE49-F238E27FC236}">
                <a16:creationId xmlns:a16="http://schemas.microsoft.com/office/drawing/2014/main" id="{5F5346FD-A91E-F498-0054-7723C522D96F}"/>
              </a:ext>
            </a:extLst>
          </p:cNvPr>
          <p:cNvSpPr txBox="1"/>
          <p:nvPr userDrawn="1"/>
        </p:nvSpPr>
        <p:spPr>
          <a:xfrm>
            <a:off x="8172450" y="7631113"/>
            <a:ext cx="479425" cy="176212"/>
          </a:xfrm>
          <a:prstGeom prst="rect">
            <a:avLst/>
          </a:prstGeom>
        </p:spPr>
        <p:txBody>
          <a:bodyPr lIns="0" tIns="15875" rIns="0" bIns="0">
            <a:spAutoFit/>
          </a:bodyPr>
          <a:lstStyle/>
          <a:p>
            <a:pPr marL="12700" algn="ctr" eaLnBrk="1" fontAlgn="auto" hangingPunct="1">
              <a:spcBef>
                <a:spcPts val="125"/>
              </a:spcBef>
              <a:spcAft>
                <a:spcPts val="0"/>
              </a:spcAft>
              <a:defRPr/>
            </a:pPr>
            <a:r>
              <a:rPr lang="it-IT" sz="1050" b="1" spc="135" dirty="0">
                <a:latin typeface="Helvetica Neue"/>
                <a:cs typeface="Helvetica Neue"/>
              </a:rPr>
              <a:t>ALDE</a:t>
            </a:r>
            <a:endParaRPr sz="1050" dirty="0">
              <a:latin typeface="Helvetica Neue"/>
              <a:cs typeface="Helvetica Neue"/>
            </a:endParaRPr>
          </a:p>
        </p:txBody>
      </p:sp>
      <p:sp>
        <p:nvSpPr>
          <p:cNvPr id="12" name="Holder 2">
            <a:extLst>
              <a:ext uri="{FF2B5EF4-FFF2-40B4-BE49-F238E27FC236}">
                <a16:creationId xmlns:a16="http://schemas.microsoft.com/office/drawing/2014/main" id="{83EADE96-02D6-2B01-9D86-9A9CFB02CBD8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0858500" y="3167063"/>
            <a:ext cx="6376988" cy="914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/>
            <a:endParaRPr lang="sl-SI" altLang="sl-SI" sz="2600" b="1" u="sng">
              <a:solidFill>
                <a:srgbClr val="000000"/>
              </a:solidFill>
              <a:latin typeface="Helvetica" panose="020B0604020202020204" pitchFamily="34" charset="0"/>
            </a:endParaRPr>
          </a:p>
        </p:txBody>
      </p:sp>
      <p:sp>
        <p:nvSpPr>
          <p:cNvPr id="13" name="object 20">
            <a:extLst>
              <a:ext uri="{FF2B5EF4-FFF2-40B4-BE49-F238E27FC236}">
                <a16:creationId xmlns:a16="http://schemas.microsoft.com/office/drawing/2014/main" id="{D19BC295-2503-D17A-C31D-66281D4F0517}"/>
              </a:ext>
            </a:extLst>
          </p:cNvPr>
          <p:cNvSpPr>
            <a:spLocks/>
          </p:cNvSpPr>
          <p:nvPr userDrawn="1"/>
        </p:nvSpPr>
        <p:spPr bwMode="auto">
          <a:xfrm>
            <a:off x="17365663" y="6440488"/>
            <a:ext cx="739775" cy="739775"/>
          </a:xfrm>
          <a:custGeom>
            <a:avLst/>
            <a:gdLst>
              <a:gd name="T0" fmla="*/ 369831 w 739775"/>
              <a:gd name="T1" fmla="*/ 0 h 739775"/>
              <a:gd name="T2" fmla="*/ 323440 w 739775"/>
              <a:gd name="T3" fmla="*/ 2881 h 739775"/>
              <a:gd name="T4" fmla="*/ 278768 w 739775"/>
              <a:gd name="T5" fmla="*/ 11295 h 739775"/>
              <a:gd name="T6" fmla="*/ 236163 w 739775"/>
              <a:gd name="T7" fmla="*/ 24894 h 739775"/>
              <a:gd name="T8" fmla="*/ 195970 w 739775"/>
              <a:gd name="T9" fmla="*/ 43333 h 739775"/>
              <a:gd name="T10" fmla="*/ 158537 w 739775"/>
              <a:gd name="T11" fmla="*/ 66263 h 739775"/>
              <a:gd name="T12" fmla="*/ 124210 w 739775"/>
              <a:gd name="T13" fmla="*/ 93339 h 739775"/>
              <a:gd name="T14" fmla="*/ 93335 w 739775"/>
              <a:gd name="T15" fmla="*/ 124214 h 739775"/>
              <a:gd name="T16" fmla="*/ 66260 w 739775"/>
              <a:gd name="T17" fmla="*/ 158542 h 739775"/>
              <a:gd name="T18" fmla="*/ 43330 w 739775"/>
              <a:gd name="T19" fmla="*/ 195975 h 739775"/>
              <a:gd name="T20" fmla="*/ 24893 w 739775"/>
              <a:gd name="T21" fmla="*/ 236167 h 739775"/>
              <a:gd name="T22" fmla="*/ 11294 w 739775"/>
              <a:gd name="T23" fmla="*/ 278771 h 739775"/>
              <a:gd name="T24" fmla="*/ 2881 w 739775"/>
              <a:gd name="T25" fmla="*/ 323442 h 739775"/>
              <a:gd name="T26" fmla="*/ 0 w 739775"/>
              <a:gd name="T27" fmla="*/ 369831 h 739775"/>
              <a:gd name="T28" fmla="*/ 2881 w 739775"/>
              <a:gd name="T29" fmla="*/ 416223 h 739775"/>
              <a:gd name="T30" fmla="*/ 11294 w 739775"/>
              <a:gd name="T31" fmla="*/ 460894 h 739775"/>
              <a:gd name="T32" fmla="*/ 24893 w 739775"/>
              <a:gd name="T33" fmla="*/ 503500 h 739775"/>
              <a:gd name="T34" fmla="*/ 43330 w 739775"/>
              <a:gd name="T35" fmla="*/ 543692 h 739775"/>
              <a:gd name="T36" fmla="*/ 66260 w 739775"/>
              <a:gd name="T37" fmla="*/ 581125 h 739775"/>
              <a:gd name="T38" fmla="*/ 93335 w 739775"/>
              <a:gd name="T39" fmla="*/ 615452 h 739775"/>
              <a:gd name="T40" fmla="*/ 124210 w 739775"/>
              <a:gd name="T41" fmla="*/ 646327 h 739775"/>
              <a:gd name="T42" fmla="*/ 158537 w 739775"/>
              <a:gd name="T43" fmla="*/ 673402 h 739775"/>
              <a:gd name="T44" fmla="*/ 195970 w 739775"/>
              <a:gd name="T45" fmla="*/ 696332 h 739775"/>
              <a:gd name="T46" fmla="*/ 236163 w 739775"/>
              <a:gd name="T47" fmla="*/ 714769 h 739775"/>
              <a:gd name="T48" fmla="*/ 278768 w 739775"/>
              <a:gd name="T49" fmla="*/ 728368 h 739775"/>
              <a:gd name="T50" fmla="*/ 323440 w 739775"/>
              <a:gd name="T51" fmla="*/ 736781 h 739775"/>
              <a:gd name="T52" fmla="*/ 369831 w 739775"/>
              <a:gd name="T53" fmla="*/ 739663 h 739775"/>
              <a:gd name="T54" fmla="*/ 416223 w 739775"/>
              <a:gd name="T55" fmla="*/ 736781 h 739775"/>
              <a:gd name="T56" fmla="*/ 460894 w 739775"/>
              <a:gd name="T57" fmla="*/ 728368 h 739775"/>
              <a:gd name="T58" fmla="*/ 503500 w 739775"/>
              <a:gd name="T59" fmla="*/ 714769 h 739775"/>
              <a:gd name="T60" fmla="*/ 543692 w 739775"/>
              <a:gd name="T61" fmla="*/ 696332 h 739775"/>
              <a:gd name="T62" fmla="*/ 581125 w 739775"/>
              <a:gd name="T63" fmla="*/ 673402 h 739775"/>
              <a:gd name="T64" fmla="*/ 615452 w 739775"/>
              <a:gd name="T65" fmla="*/ 646327 h 739775"/>
              <a:gd name="T66" fmla="*/ 646327 w 739775"/>
              <a:gd name="T67" fmla="*/ 615452 h 739775"/>
              <a:gd name="T68" fmla="*/ 673402 w 739775"/>
              <a:gd name="T69" fmla="*/ 581125 h 739775"/>
              <a:gd name="T70" fmla="*/ 696332 w 739775"/>
              <a:gd name="T71" fmla="*/ 543692 h 739775"/>
              <a:gd name="T72" fmla="*/ 714769 w 739775"/>
              <a:gd name="T73" fmla="*/ 503500 h 739775"/>
              <a:gd name="T74" fmla="*/ 728368 w 739775"/>
              <a:gd name="T75" fmla="*/ 460894 h 739775"/>
              <a:gd name="T76" fmla="*/ 736781 w 739775"/>
              <a:gd name="T77" fmla="*/ 416223 h 739775"/>
              <a:gd name="T78" fmla="*/ 739663 w 739775"/>
              <a:gd name="T79" fmla="*/ 369831 h 739775"/>
              <a:gd name="T80" fmla="*/ 736781 w 739775"/>
              <a:gd name="T81" fmla="*/ 323442 h 739775"/>
              <a:gd name="T82" fmla="*/ 728368 w 739775"/>
              <a:gd name="T83" fmla="*/ 278771 h 739775"/>
              <a:gd name="T84" fmla="*/ 714769 w 739775"/>
              <a:gd name="T85" fmla="*/ 236167 h 739775"/>
              <a:gd name="T86" fmla="*/ 696332 w 739775"/>
              <a:gd name="T87" fmla="*/ 195975 h 739775"/>
              <a:gd name="T88" fmla="*/ 673402 w 739775"/>
              <a:gd name="T89" fmla="*/ 158542 h 739775"/>
              <a:gd name="T90" fmla="*/ 646327 w 739775"/>
              <a:gd name="T91" fmla="*/ 124214 h 739775"/>
              <a:gd name="T92" fmla="*/ 615452 w 739775"/>
              <a:gd name="T93" fmla="*/ 93339 h 739775"/>
              <a:gd name="T94" fmla="*/ 581125 w 739775"/>
              <a:gd name="T95" fmla="*/ 66263 h 739775"/>
              <a:gd name="T96" fmla="*/ 543692 w 739775"/>
              <a:gd name="T97" fmla="*/ 43333 h 739775"/>
              <a:gd name="T98" fmla="*/ 503500 w 739775"/>
              <a:gd name="T99" fmla="*/ 24894 h 739775"/>
              <a:gd name="T100" fmla="*/ 460894 w 739775"/>
              <a:gd name="T101" fmla="*/ 11295 h 739775"/>
              <a:gd name="T102" fmla="*/ 416223 w 739775"/>
              <a:gd name="T103" fmla="*/ 2881 h 739775"/>
              <a:gd name="T104" fmla="*/ 369831 w 739775"/>
              <a:gd name="T105" fmla="*/ 0 h 7397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739775" h="739775">
                <a:moveTo>
                  <a:pt x="369831" y="0"/>
                </a:moveTo>
                <a:lnTo>
                  <a:pt x="323440" y="2881"/>
                </a:lnTo>
                <a:lnTo>
                  <a:pt x="278768" y="11295"/>
                </a:lnTo>
                <a:lnTo>
                  <a:pt x="236163" y="24894"/>
                </a:lnTo>
                <a:lnTo>
                  <a:pt x="195970" y="43333"/>
                </a:lnTo>
                <a:lnTo>
                  <a:pt x="158537" y="66263"/>
                </a:lnTo>
                <a:lnTo>
                  <a:pt x="124210" y="93339"/>
                </a:lnTo>
                <a:lnTo>
                  <a:pt x="93335" y="124214"/>
                </a:lnTo>
                <a:lnTo>
                  <a:pt x="66260" y="158542"/>
                </a:lnTo>
                <a:lnTo>
                  <a:pt x="43330" y="195975"/>
                </a:lnTo>
                <a:lnTo>
                  <a:pt x="24893" y="236167"/>
                </a:lnTo>
                <a:lnTo>
                  <a:pt x="11294" y="278771"/>
                </a:lnTo>
                <a:lnTo>
                  <a:pt x="2881" y="323442"/>
                </a:lnTo>
                <a:lnTo>
                  <a:pt x="0" y="369831"/>
                </a:lnTo>
                <a:lnTo>
                  <a:pt x="2881" y="416223"/>
                </a:lnTo>
                <a:lnTo>
                  <a:pt x="11294" y="460894"/>
                </a:lnTo>
                <a:lnTo>
                  <a:pt x="24893" y="503500"/>
                </a:lnTo>
                <a:lnTo>
                  <a:pt x="43330" y="543692"/>
                </a:lnTo>
                <a:lnTo>
                  <a:pt x="66260" y="581125"/>
                </a:lnTo>
                <a:lnTo>
                  <a:pt x="93335" y="615452"/>
                </a:lnTo>
                <a:lnTo>
                  <a:pt x="124210" y="646327"/>
                </a:lnTo>
                <a:lnTo>
                  <a:pt x="158537" y="673402"/>
                </a:lnTo>
                <a:lnTo>
                  <a:pt x="195970" y="696332"/>
                </a:lnTo>
                <a:lnTo>
                  <a:pt x="236163" y="714769"/>
                </a:lnTo>
                <a:lnTo>
                  <a:pt x="278768" y="728368"/>
                </a:lnTo>
                <a:lnTo>
                  <a:pt x="323440" y="736781"/>
                </a:lnTo>
                <a:lnTo>
                  <a:pt x="369831" y="739663"/>
                </a:lnTo>
                <a:lnTo>
                  <a:pt x="416223" y="736781"/>
                </a:lnTo>
                <a:lnTo>
                  <a:pt x="460894" y="728368"/>
                </a:lnTo>
                <a:lnTo>
                  <a:pt x="503500" y="714769"/>
                </a:lnTo>
                <a:lnTo>
                  <a:pt x="543692" y="696332"/>
                </a:lnTo>
                <a:lnTo>
                  <a:pt x="581125" y="673402"/>
                </a:lnTo>
                <a:lnTo>
                  <a:pt x="615452" y="646327"/>
                </a:lnTo>
                <a:lnTo>
                  <a:pt x="646327" y="615452"/>
                </a:lnTo>
                <a:lnTo>
                  <a:pt x="673402" y="581125"/>
                </a:lnTo>
                <a:lnTo>
                  <a:pt x="696332" y="543692"/>
                </a:lnTo>
                <a:lnTo>
                  <a:pt x="714769" y="503500"/>
                </a:lnTo>
                <a:lnTo>
                  <a:pt x="728368" y="460894"/>
                </a:lnTo>
                <a:lnTo>
                  <a:pt x="736781" y="416223"/>
                </a:lnTo>
                <a:lnTo>
                  <a:pt x="739663" y="369831"/>
                </a:lnTo>
                <a:lnTo>
                  <a:pt x="736781" y="323442"/>
                </a:lnTo>
                <a:lnTo>
                  <a:pt x="728368" y="278771"/>
                </a:lnTo>
                <a:lnTo>
                  <a:pt x="714769" y="236167"/>
                </a:lnTo>
                <a:lnTo>
                  <a:pt x="696332" y="195975"/>
                </a:lnTo>
                <a:lnTo>
                  <a:pt x="673402" y="158542"/>
                </a:lnTo>
                <a:lnTo>
                  <a:pt x="646327" y="124214"/>
                </a:lnTo>
                <a:lnTo>
                  <a:pt x="615452" y="93339"/>
                </a:lnTo>
                <a:lnTo>
                  <a:pt x="581125" y="66263"/>
                </a:lnTo>
                <a:lnTo>
                  <a:pt x="543692" y="43333"/>
                </a:lnTo>
                <a:lnTo>
                  <a:pt x="503500" y="24894"/>
                </a:lnTo>
                <a:lnTo>
                  <a:pt x="460894" y="11295"/>
                </a:lnTo>
                <a:lnTo>
                  <a:pt x="416223" y="2881"/>
                </a:lnTo>
                <a:lnTo>
                  <a:pt x="369831" y="0"/>
                </a:lnTo>
                <a:close/>
              </a:path>
            </a:pathLst>
          </a:custGeom>
          <a:solidFill>
            <a:srgbClr val="E5E5E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en-AU"/>
          </a:p>
        </p:txBody>
      </p:sp>
      <p:sp>
        <p:nvSpPr>
          <p:cNvPr id="14" name="object 21">
            <a:extLst>
              <a:ext uri="{FF2B5EF4-FFF2-40B4-BE49-F238E27FC236}">
                <a16:creationId xmlns:a16="http://schemas.microsoft.com/office/drawing/2014/main" id="{75C0CE28-F982-E1B6-893D-BECFB5EA838B}"/>
              </a:ext>
            </a:extLst>
          </p:cNvPr>
          <p:cNvSpPr txBox="1"/>
          <p:nvPr userDrawn="1"/>
        </p:nvSpPr>
        <p:spPr>
          <a:xfrm>
            <a:off x="17487900" y="6727825"/>
            <a:ext cx="495300" cy="177800"/>
          </a:xfrm>
          <a:prstGeom prst="rect">
            <a:avLst/>
          </a:prstGeom>
        </p:spPr>
        <p:txBody>
          <a:bodyPr lIns="0" tIns="15875" rIns="0" bIns="0">
            <a:spAutoFit/>
          </a:bodyPr>
          <a:lstStyle/>
          <a:p>
            <a:pPr marL="12700" algn="ctr" eaLnBrk="1" fontAlgn="auto" hangingPunct="1">
              <a:spcBef>
                <a:spcPts val="125"/>
              </a:spcBef>
              <a:spcAft>
                <a:spcPts val="0"/>
              </a:spcAft>
              <a:defRPr/>
            </a:pPr>
            <a:r>
              <a:rPr lang="it-IT" sz="1050" b="1" spc="135" dirty="0">
                <a:latin typeface="Helvetica Neue"/>
                <a:cs typeface="Helvetica Neue"/>
              </a:rPr>
              <a:t>ALKO</a:t>
            </a:r>
            <a:endParaRPr sz="1050" dirty="0">
              <a:latin typeface="Helvetica Neue"/>
              <a:cs typeface="Helvetica Neue"/>
            </a:endParaRPr>
          </a:p>
        </p:txBody>
      </p:sp>
      <p:sp>
        <p:nvSpPr>
          <p:cNvPr id="16" name="object 24">
            <a:extLst>
              <a:ext uri="{FF2B5EF4-FFF2-40B4-BE49-F238E27FC236}">
                <a16:creationId xmlns:a16="http://schemas.microsoft.com/office/drawing/2014/main" id="{D4CF749D-10A8-A24E-8543-B97C30CFD887}"/>
              </a:ext>
            </a:extLst>
          </p:cNvPr>
          <p:cNvSpPr>
            <a:spLocks/>
          </p:cNvSpPr>
          <p:nvPr userDrawn="1"/>
        </p:nvSpPr>
        <p:spPr bwMode="auto">
          <a:xfrm>
            <a:off x="17365663" y="7342188"/>
            <a:ext cx="739775" cy="739775"/>
          </a:xfrm>
          <a:custGeom>
            <a:avLst/>
            <a:gdLst>
              <a:gd name="T0" fmla="*/ 369831 w 739775"/>
              <a:gd name="T1" fmla="*/ 0 h 739775"/>
              <a:gd name="T2" fmla="*/ 323440 w 739775"/>
              <a:gd name="T3" fmla="*/ 2881 h 739775"/>
              <a:gd name="T4" fmla="*/ 278768 w 739775"/>
              <a:gd name="T5" fmla="*/ 11295 h 739775"/>
              <a:gd name="T6" fmla="*/ 236163 w 739775"/>
              <a:gd name="T7" fmla="*/ 24894 h 739775"/>
              <a:gd name="T8" fmla="*/ 195970 w 739775"/>
              <a:gd name="T9" fmla="*/ 43333 h 739775"/>
              <a:gd name="T10" fmla="*/ 158537 w 739775"/>
              <a:gd name="T11" fmla="*/ 66263 h 739775"/>
              <a:gd name="T12" fmla="*/ 124210 w 739775"/>
              <a:gd name="T13" fmla="*/ 93339 h 739775"/>
              <a:gd name="T14" fmla="*/ 93335 w 739775"/>
              <a:gd name="T15" fmla="*/ 124214 h 739775"/>
              <a:gd name="T16" fmla="*/ 66260 w 739775"/>
              <a:gd name="T17" fmla="*/ 158542 h 739775"/>
              <a:gd name="T18" fmla="*/ 43330 w 739775"/>
              <a:gd name="T19" fmla="*/ 195975 h 739775"/>
              <a:gd name="T20" fmla="*/ 24893 w 739775"/>
              <a:gd name="T21" fmla="*/ 236167 h 739775"/>
              <a:gd name="T22" fmla="*/ 11294 w 739775"/>
              <a:gd name="T23" fmla="*/ 278771 h 739775"/>
              <a:gd name="T24" fmla="*/ 2881 w 739775"/>
              <a:gd name="T25" fmla="*/ 323442 h 739775"/>
              <a:gd name="T26" fmla="*/ 0 w 739775"/>
              <a:gd name="T27" fmla="*/ 369831 h 739775"/>
              <a:gd name="T28" fmla="*/ 2881 w 739775"/>
              <a:gd name="T29" fmla="*/ 416223 h 739775"/>
              <a:gd name="T30" fmla="*/ 11294 w 739775"/>
              <a:gd name="T31" fmla="*/ 460894 h 739775"/>
              <a:gd name="T32" fmla="*/ 24893 w 739775"/>
              <a:gd name="T33" fmla="*/ 503500 h 739775"/>
              <a:gd name="T34" fmla="*/ 43330 w 739775"/>
              <a:gd name="T35" fmla="*/ 543692 h 739775"/>
              <a:gd name="T36" fmla="*/ 66260 w 739775"/>
              <a:gd name="T37" fmla="*/ 581125 h 739775"/>
              <a:gd name="T38" fmla="*/ 93335 w 739775"/>
              <a:gd name="T39" fmla="*/ 615452 h 739775"/>
              <a:gd name="T40" fmla="*/ 124210 w 739775"/>
              <a:gd name="T41" fmla="*/ 646327 h 739775"/>
              <a:gd name="T42" fmla="*/ 158537 w 739775"/>
              <a:gd name="T43" fmla="*/ 673402 h 739775"/>
              <a:gd name="T44" fmla="*/ 195970 w 739775"/>
              <a:gd name="T45" fmla="*/ 696332 h 739775"/>
              <a:gd name="T46" fmla="*/ 236163 w 739775"/>
              <a:gd name="T47" fmla="*/ 714769 h 739775"/>
              <a:gd name="T48" fmla="*/ 278768 w 739775"/>
              <a:gd name="T49" fmla="*/ 728368 h 739775"/>
              <a:gd name="T50" fmla="*/ 323440 w 739775"/>
              <a:gd name="T51" fmla="*/ 736781 h 739775"/>
              <a:gd name="T52" fmla="*/ 369831 w 739775"/>
              <a:gd name="T53" fmla="*/ 739663 h 739775"/>
              <a:gd name="T54" fmla="*/ 416223 w 739775"/>
              <a:gd name="T55" fmla="*/ 736781 h 739775"/>
              <a:gd name="T56" fmla="*/ 460894 w 739775"/>
              <a:gd name="T57" fmla="*/ 728368 h 739775"/>
              <a:gd name="T58" fmla="*/ 503500 w 739775"/>
              <a:gd name="T59" fmla="*/ 714769 h 739775"/>
              <a:gd name="T60" fmla="*/ 543692 w 739775"/>
              <a:gd name="T61" fmla="*/ 696332 h 739775"/>
              <a:gd name="T62" fmla="*/ 581125 w 739775"/>
              <a:gd name="T63" fmla="*/ 673402 h 739775"/>
              <a:gd name="T64" fmla="*/ 615452 w 739775"/>
              <a:gd name="T65" fmla="*/ 646327 h 739775"/>
              <a:gd name="T66" fmla="*/ 646327 w 739775"/>
              <a:gd name="T67" fmla="*/ 615452 h 739775"/>
              <a:gd name="T68" fmla="*/ 673402 w 739775"/>
              <a:gd name="T69" fmla="*/ 581125 h 739775"/>
              <a:gd name="T70" fmla="*/ 696332 w 739775"/>
              <a:gd name="T71" fmla="*/ 543692 h 739775"/>
              <a:gd name="T72" fmla="*/ 714769 w 739775"/>
              <a:gd name="T73" fmla="*/ 503500 h 739775"/>
              <a:gd name="T74" fmla="*/ 728368 w 739775"/>
              <a:gd name="T75" fmla="*/ 460894 h 739775"/>
              <a:gd name="T76" fmla="*/ 736781 w 739775"/>
              <a:gd name="T77" fmla="*/ 416223 h 739775"/>
              <a:gd name="T78" fmla="*/ 739663 w 739775"/>
              <a:gd name="T79" fmla="*/ 369831 h 739775"/>
              <a:gd name="T80" fmla="*/ 736781 w 739775"/>
              <a:gd name="T81" fmla="*/ 323442 h 739775"/>
              <a:gd name="T82" fmla="*/ 728368 w 739775"/>
              <a:gd name="T83" fmla="*/ 278771 h 739775"/>
              <a:gd name="T84" fmla="*/ 714769 w 739775"/>
              <a:gd name="T85" fmla="*/ 236167 h 739775"/>
              <a:gd name="T86" fmla="*/ 696332 w 739775"/>
              <a:gd name="T87" fmla="*/ 195975 h 739775"/>
              <a:gd name="T88" fmla="*/ 673402 w 739775"/>
              <a:gd name="T89" fmla="*/ 158542 h 739775"/>
              <a:gd name="T90" fmla="*/ 646327 w 739775"/>
              <a:gd name="T91" fmla="*/ 124214 h 739775"/>
              <a:gd name="T92" fmla="*/ 615452 w 739775"/>
              <a:gd name="T93" fmla="*/ 93339 h 739775"/>
              <a:gd name="T94" fmla="*/ 581125 w 739775"/>
              <a:gd name="T95" fmla="*/ 66263 h 739775"/>
              <a:gd name="T96" fmla="*/ 543692 w 739775"/>
              <a:gd name="T97" fmla="*/ 43333 h 739775"/>
              <a:gd name="T98" fmla="*/ 503500 w 739775"/>
              <a:gd name="T99" fmla="*/ 24894 h 739775"/>
              <a:gd name="T100" fmla="*/ 460894 w 739775"/>
              <a:gd name="T101" fmla="*/ 11295 h 739775"/>
              <a:gd name="T102" fmla="*/ 416223 w 739775"/>
              <a:gd name="T103" fmla="*/ 2881 h 739775"/>
              <a:gd name="T104" fmla="*/ 369831 w 739775"/>
              <a:gd name="T105" fmla="*/ 0 h 7397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739775" h="739775">
                <a:moveTo>
                  <a:pt x="369831" y="0"/>
                </a:moveTo>
                <a:lnTo>
                  <a:pt x="323440" y="2881"/>
                </a:lnTo>
                <a:lnTo>
                  <a:pt x="278768" y="11295"/>
                </a:lnTo>
                <a:lnTo>
                  <a:pt x="236163" y="24894"/>
                </a:lnTo>
                <a:lnTo>
                  <a:pt x="195970" y="43333"/>
                </a:lnTo>
                <a:lnTo>
                  <a:pt x="158537" y="66263"/>
                </a:lnTo>
                <a:lnTo>
                  <a:pt x="124210" y="93339"/>
                </a:lnTo>
                <a:lnTo>
                  <a:pt x="93335" y="124214"/>
                </a:lnTo>
                <a:lnTo>
                  <a:pt x="66260" y="158542"/>
                </a:lnTo>
                <a:lnTo>
                  <a:pt x="43330" y="195975"/>
                </a:lnTo>
                <a:lnTo>
                  <a:pt x="24893" y="236167"/>
                </a:lnTo>
                <a:lnTo>
                  <a:pt x="11294" y="278771"/>
                </a:lnTo>
                <a:lnTo>
                  <a:pt x="2881" y="323442"/>
                </a:lnTo>
                <a:lnTo>
                  <a:pt x="0" y="369831"/>
                </a:lnTo>
                <a:lnTo>
                  <a:pt x="2881" y="416223"/>
                </a:lnTo>
                <a:lnTo>
                  <a:pt x="11294" y="460894"/>
                </a:lnTo>
                <a:lnTo>
                  <a:pt x="24893" y="503500"/>
                </a:lnTo>
                <a:lnTo>
                  <a:pt x="43330" y="543692"/>
                </a:lnTo>
                <a:lnTo>
                  <a:pt x="66260" y="581125"/>
                </a:lnTo>
                <a:lnTo>
                  <a:pt x="93335" y="615452"/>
                </a:lnTo>
                <a:lnTo>
                  <a:pt x="124210" y="646327"/>
                </a:lnTo>
                <a:lnTo>
                  <a:pt x="158537" y="673402"/>
                </a:lnTo>
                <a:lnTo>
                  <a:pt x="195970" y="696332"/>
                </a:lnTo>
                <a:lnTo>
                  <a:pt x="236163" y="714769"/>
                </a:lnTo>
                <a:lnTo>
                  <a:pt x="278768" y="728368"/>
                </a:lnTo>
                <a:lnTo>
                  <a:pt x="323440" y="736781"/>
                </a:lnTo>
                <a:lnTo>
                  <a:pt x="369831" y="739663"/>
                </a:lnTo>
                <a:lnTo>
                  <a:pt x="416223" y="736781"/>
                </a:lnTo>
                <a:lnTo>
                  <a:pt x="460894" y="728368"/>
                </a:lnTo>
                <a:lnTo>
                  <a:pt x="503500" y="714769"/>
                </a:lnTo>
                <a:lnTo>
                  <a:pt x="543692" y="696332"/>
                </a:lnTo>
                <a:lnTo>
                  <a:pt x="581125" y="673402"/>
                </a:lnTo>
                <a:lnTo>
                  <a:pt x="615452" y="646327"/>
                </a:lnTo>
                <a:lnTo>
                  <a:pt x="646327" y="615452"/>
                </a:lnTo>
                <a:lnTo>
                  <a:pt x="673402" y="581125"/>
                </a:lnTo>
                <a:lnTo>
                  <a:pt x="696332" y="543692"/>
                </a:lnTo>
                <a:lnTo>
                  <a:pt x="714769" y="503500"/>
                </a:lnTo>
                <a:lnTo>
                  <a:pt x="728368" y="460894"/>
                </a:lnTo>
                <a:lnTo>
                  <a:pt x="736781" y="416223"/>
                </a:lnTo>
                <a:lnTo>
                  <a:pt x="739663" y="369831"/>
                </a:lnTo>
                <a:lnTo>
                  <a:pt x="736781" y="323442"/>
                </a:lnTo>
                <a:lnTo>
                  <a:pt x="728368" y="278771"/>
                </a:lnTo>
                <a:lnTo>
                  <a:pt x="714769" y="236167"/>
                </a:lnTo>
                <a:lnTo>
                  <a:pt x="696332" y="195975"/>
                </a:lnTo>
                <a:lnTo>
                  <a:pt x="673402" y="158542"/>
                </a:lnTo>
                <a:lnTo>
                  <a:pt x="646327" y="124214"/>
                </a:lnTo>
                <a:lnTo>
                  <a:pt x="615452" y="93339"/>
                </a:lnTo>
                <a:lnTo>
                  <a:pt x="581125" y="66263"/>
                </a:lnTo>
                <a:lnTo>
                  <a:pt x="543692" y="43333"/>
                </a:lnTo>
                <a:lnTo>
                  <a:pt x="503500" y="24894"/>
                </a:lnTo>
                <a:lnTo>
                  <a:pt x="460894" y="11295"/>
                </a:lnTo>
                <a:lnTo>
                  <a:pt x="416223" y="2881"/>
                </a:lnTo>
                <a:lnTo>
                  <a:pt x="369831" y="0"/>
                </a:lnTo>
                <a:close/>
              </a:path>
            </a:pathLst>
          </a:custGeom>
          <a:solidFill>
            <a:srgbClr val="E5E5E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en-AU"/>
          </a:p>
        </p:txBody>
      </p:sp>
      <p:sp>
        <p:nvSpPr>
          <p:cNvPr id="17" name="object 25">
            <a:extLst>
              <a:ext uri="{FF2B5EF4-FFF2-40B4-BE49-F238E27FC236}">
                <a16:creationId xmlns:a16="http://schemas.microsoft.com/office/drawing/2014/main" id="{B86FEB04-DA5E-C223-C0E6-65A997679AAE}"/>
              </a:ext>
            </a:extLst>
          </p:cNvPr>
          <p:cNvSpPr txBox="1"/>
          <p:nvPr userDrawn="1"/>
        </p:nvSpPr>
        <p:spPr>
          <a:xfrm>
            <a:off x="17495838" y="7631113"/>
            <a:ext cx="479425" cy="176212"/>
          </a:xfrm>
          <a:prstGeom prst="rect">
            <a:avLst/>
          </a:prstGeom>
        </p:spPr>
        <p:txBody>
          <a:bodyPr lIns="0" tIns="15875" rIns="0" bIns="0">
            <a:spAutoFit/>
          </a:bodyPr>
          <a:lstStyle/>
          <a:p>
            <a:pPr marL="12700" algn="ctr" eaLnBrk="1" fontAlgn="auto" hangingPunct="1">
              <a:spcBef>
                <a:spcPts val="125"/>
              </a:spcBef>
              <a:spcAft>
                <a:spcPts val="0"/>
              </a:spcAft>
              <a:defRPr/>
            </a:pPr>
            <a:r>
              <a:rPr lang="it-IT" sz="1050" b="1" spc="135" dirty="0">
                <a:latin typeface="Helvetica Neue"/>
                <a:cs typeface="Helvetica Neue"/>
              </a:rPr>
              <a:t>ALDE</a:t>
            </a:r>
            <a:endParaRPr sz="1050" dirty="0">
              <a:latin typeface="Helvetica Neue"/>
              <a:cs typeface="Helvetica Neue"/>
            </a:endParaRPr>
          </a:p>
        </p:txBody>
      </p:sp>
      <p:sp>
        <p:nvSpPr>
          <p:cNvPr id="15" name="Holder 4"/>
          <p:cNvSpPr>
            <a:spLocks noGrp="1"/>
          </p:cNvSpPr>
          <p:nvPr>
            <p:ph sz="half" idx="3"/>
          </p:nvPr>
        </p:nvSpPr>
        <p:spPr>
          <a:xfrm>
            <a:off x="1534064" y="3671244"/>
            <a:ext cx="7233284" cy="2448989"/>
          </a:xfrm>
          <a:prstGeom prst="rect">
            <a:avLst/>
          </a:prstGeom>
          <a:solidFill>
            <a:srgbClr val="E5E5E5"/>
          </a:solidFill>
        </p:spPr>
        <p:txBody>
          <a:bodyPr/>
          <a:lstStyle>
            <a:lvl1pPr>
              <a:defRPr/>
            </a:lvl1pPr>
          </a:lstStyle>
          <a:p>
            <a:endParaRPr dirty="0"/>
          </a:p>
        </p:txBody>
      </p:sp>
      <p:sp>
        <p:nvSpPr>
          <p:cNvPr id="22" name="Segnaposto testo 21"/>
          <p:cNvSpPr>
            <a:spLocks noGrp="1"/>
          </p:cNvSpPr>
          <p:nvPr>
            <p:ph type="body" sz="quarter" idx="11"/>
          </p:nvPr>
        </p:nvSpPr>
        <p:spPr>
          <a:xfrm>
            <a:off x="1534064" y="6447778"/>
            <a:ext cx="5165186" cy="269304"/>
          </a:xfrm>
        </p:spPr>
        <p:txBody>
          <a:bodyPr/>
          <a:lstStyle>
            <a:lvl1pPr>
              <a:defRPr sz="1750" b="1" i="0" u="sng">
                <a:latin typeface="Helvetica" pitchFamily="2" charset="0"/>
              </a:defRPr>
            </a:lvl1pPr>
            <a:lvl2pPr>
              <a:defRPr sz="1750" b="1" i="0" u="sng">
                <a:latin typeface="Helvetica" pitchFamily="2" charset="0"/>
              </a:defRPr>
            </a:lvl2pPr>
            <a:lvl3pPr>
              <a:defRPr sz="1750" b="1" i="0" u="sng">
                <a:latin typeface="Helvetica" pitchFamily="2" charset="0"/>
              </a:defRPr>
            </a:lvl3pPr>
            <a:lvl4pPr>
              <a:defRPr sz="1750" b="1" i="0" u="sng">
                <a:latin typeface="Helvetica" pitchFamily="2" charset="0"/>
              </a:defRPr>
            </a:lvl4pPr>
            <a:lvl5pPr>
              <a:defRPr sz="1750" b="1" i="0" u="sng">
                <a:latin typeface="Helvetica" pitchFamily="2" charset="0"/>
              </a:defRPr>
            </a:lvl5pPr>
          </a:lstStyle>
          <a:p>
            <a:pPr lvl="0"/>
            <a:endParaRPr lang="it-IT" dirty="0"/>
          </a:p>
        </p:txBody>
      </p:sp>
      <p:sp>
        <p:nvSpPr>
          <p:cNvPr id="25" name="Segnaposto testo 24"/>
          <p:cNvSpPr>
            <a:spLocks noGrp="1"/>
          </p:cNvSpPr>
          <p:nvPr>
            <p:ph type="body" sz="quarter" idx="12"/>
          </p:nvPr>
        </p:nvSpPr>
        <p:spPr>
          <a:xfrm>
            <a:off x="1533525" y="6888410"/>
            <a:ext cx="5699125" cy="238527"/>
          </a:xfrm>
        </p:spPr>
        <p:txBody>
          <a:bodyPr/>
          <a:lstStyle>
            <a:lvl1pPr>
              <a:defRPr sz="1550" b="0" i="0">
                <a:latin typeface="Helvetica" pitchFamily="2" charset="0"/>
              </a:defRPr>
            </a:lvl1pPr>
            <a:lvl2pPr>
              <a:defRPr sz="1550" b="1" i="0">
                <a:latin typeface="Helvetica" pitchFamily="2" charset="0"/>
              </a:defRPr>
            </a:lvl2pPr>
            <a:lvl3pPr>
              <a:defRPr sz="1550" b="1" i="0">
                <a:latin typeface="Helvetica" pitchFamily="2" charset="0"/>
              </a:defRPr>
            </a:lvl3pPr>
            <a:lvl4pPr>
              <a:defRPr sz="1550" b="1" i="0">
                <a:latin typeface="Helvetica" pitchFamily="2" charset="0"/>
              </a:defRPr>
            </a:lvl4pPr>
            <a:lvl5pPr>
              <a:defRPr sz="1550" b="1" i="0">
                <a:latin typeface="Helvetica" pitchFamily="2" charset="0"/>
              </a:defRPr>
            </a:lvl5pPr>
          </a:lstStyle>
          <a:p>
            <a:pPr lvl="0"/>
            <a:endParaRPr lang="it-IT" dirty="0"/>
          </a:p>
        </p:txBody>
      </p:sp>
      <p:sp>
        <p:nvSpPr>
          <p:cNvPr id="27" name="Segnaposto testo 21"/>
          <p:cNvSpPr>
            <a:spLocks noGrp="1"/>
          </p:cNvSpPr>
          <p:nvPr>
            <p:ph type="body" sz="quarter" idx="13"/>
          </p:nvPr>
        </p:nvSpPr>
        <p:spPr>
          <a:xfrm>
            <a:off x="1534064" y="8359545"/>
            <a:ext cx="5165186" cy="269304"/>
          </a:xfrm>
        </p:spPr>
        <p:txBody>
          <a:bodyPr/>
          <a:lstStyle>
            <a:lvl1pPr>
              <a:defRPr sz="1750" b="1" i="0" u="sng">
                <a:latin typeface="Helvetica" pitchFamily="2" charset="0"/>
              </a:defRPr>
            </a:lvl1pPr>
            <a:lvl2pPr>
              <a:defRPr sz="1750" b="1" i="0" u="sng">
                <a:latin typeface="Helvetica" pitchFamily="2" charset="0"/>
              </a:defRPr>
            </a:lvl2pPr>
            <a:lvl3pPr>
              <a:defRPr sz="1750" b="1" i="0" u="sng">
                <a:latin typeface="Helvetica" pitchFamily="2" charset="0"/>
              </a:defRPr>
            </a:lvl3pPr>
            <a:lvl4pPr>
              <a:defRPr sz="1750" b="1" i="0" u="sng">
                <a:latin typeface="Helvetica" pitchFamily="2" charset="0"/>
              </a:defRPr>
            </a:lvl4pPr>
            <a:lvl5pPr>
              <a:defRPr sz="1750" b="1" i="0" u="sng">
                <a:latin typeface="Helvetica" pitchFamily="2" charset="0"/>
              </a:defRPr>
            </a:lvl5pPr>
          </a:lstStyle>
          <a:p>
            <a:pPr lvl="0"/>
            <a:endParaRPr lang="it-IT" dirty="0"/>
          </a:p>
        </p:txBody>
      </p:sp>
      <p:sp>
        <p:nvSpPr>
          <p:cNvPr id="28" name="Segnaposto testo 24"/>
          <p:cNvSpPr>
            <a:spLocks noGrp="1"/>
          </p:cNvSpPr>
          <p:nvPr>
            <p:ph type="body" sz="quarter" idx="14"/>
          </p:nvPr>
        </p:nvSpPr>
        <p:spPr>
          <a:xfrm>
            <a:off x="1533525" y="8800177"/>
            <a:ext cx="5699125" cy="238527"/>
          </a:xfrm>
        </p:spPr>
        <p:txBody>
          <a:bodyPr/>
          <a:lstStyle>
            <a:lvl1pPr>
              <a:defRPr sz="1550" b="0" i="0">
                <a:latin typeface="Helvetica" pitchFamily="2" charset="0"/>
              </a:defRPr>
            </a:lvl1pPr>
            <a:lvl2pPr>
              <a:defRPr sz="1550" b="1" i="0">
                <a:latin typeface="Helvetica" pitchFamily="2" charset="0"/>
              </a:defRPr>
            </a:lvl2pPr>
            <a:lvl3pPr>
              <a:defRPr sz="1550" b="1" i="0">
                <a:latin typeface="Helvetica" pitchFamily="2" charset="0"/>
              </a:defRPr>
            </a:lvl3pPr>
            <a:lvl4pPr>
              <a:defRPr sz="1550" b="1" i="0">
                <a:latin typeface="Helvetica" pitchFamily="2" charset="0"/>
              </a:defRPr>
            </a:lvl4pPr>
            <a:lvl5pPr>
              <a:defRPr sz="1550" b="1" i="0">
                <a:latin typeface="Helvetica" pitchFamily="2" charset="0"/>
              </a:defRPr>
            </a:lvl5pPr>
          </a:lstStyle>
          <a:p>
            <a:pPr lvl="0"/>
            <a:endParaRPr lang="it-IT" dirty="0"/>
          </a:p>
        </p:txBody>
      </p:sp>
      <p:sp>
        <p:nvSpPr>
          <p:cNvPr id="29" name="Segnaposto testo 21"/>
          <p:cNvSpPr>
            <a:spLocks noGrp="1"/>
          </p:cNvSpPr>
          <p:nvPr>
            <p:ph type="body" sz="quarter" idx="15"/>
          </p:nvPr>
        </p:nvSpPr>
        <p:spPr>
          <a:xfrm>
            <a:off x="1534064" y="10233316"/>
            <a:ext cx="5165186" cy="269304"/>
          </a:xfrm>
        </p:spPr>
        <p:txBody>
          <a:bodyPr/>
          <a:lstStyle>
            <a:lvl1pPr>
              <a:defRPr sz="1750" b="1" i="0" u="sng">
                <a:latin typeface="Helvetica" pitchFamily="2" charset="0"/>
              </a:defRPr>
            </a:lvl1pPr>
            <a:lvl2pPr>
              <a:defRPr sz="1750" b="1" i="0" u="sng">
                <a:latin typeface="Helvetica" pitchFamily="2" charset="0"/>
              </a:defRPr>
            </a:lvl2pPr>
            <a:lvl3pPr>
              <a:defRPr sz="1750" b="1" i="0" u="sng">
                <a:latin typeface="Helvetica" pitchFamily="2" charset="0"/>
              </a:defRPr>
            </a:lvl3pPr>
            <a:lvl4pPr>
              <a:defRPr sz="1750" b="1" i="0" u="sng">
                <a:latin typeface="Helvetica" pitchFamily="2" charset="0"/>
              </a:defRPr>
            </a:lvl4pPr>
            <a:lvl5pPr>
              <a:defRPr sz="1750" b="1" i="0" u="sng">
                <a:latin typeface="Helvetica" pitchFamily="2" charset="0"/>
              </a:defRPr>
            </a:lvl5pPr>
          </a:lstStyle>
          <a:p>
            <a:pPr lvl="0"/>
            <a:endParaRPr lang="it-IT" dirty="0"/>
          </a:p>
        </p:txBody>
      </p:sp>
      <p:sp>
        <p:nvSpPr>
          <p:cNvPr id="30" name="Segnaposto testo 24"/>
          <p:cNvSpPr>
            <a:spLocks noGrp="1"/>
          </p:cNvSpPr>
          <p:nvPr>
            <p:ph type="body" sz="quarter" idx="16"/>
          </p:nvPr>
        </p:nvSpPr>
        <p:spPr>
          <a:xfrm>
            <a:off x="1533525" y="10673948"/>
            <a:ext cx="5699125" cy="238527"/>
          </a:xfrm>
        </p:spPr>
        <p:txBody>
          <a:bodyPr numCol="2"/>
          <a:lstStyle>
            <a:lvl1pPr marL="12065" indent="0">
              <a:buNone/>
              <a:defRPr sz="1550" b="0" i="0">
                <a:latin typeface="Helvetica" pitchFamily="2" charset="0"/>
              </a:defRPr>
            </a:lvl1pPr>
            <a:lvl2pPr>
              <a:defRPr sz="1550" b="1" i="0">
                <a:latin typeface="Helvetica" pitchFamily="2" charset="0"/>
              </a:defRPr>
            </a:lvl2pPr>
            <a:lvl3pPr>
              <a:defRPr sz="1550" b="1" i="0">
                <a:latin typeface="Helvetica" pitchFamily="2" charset="0"/>
              </a:defRPr>
            </a:lvl3pPr>
            <a:lvl4pPr>
              <a:defRPr sz="1550" b="1" i="0">
                <a:latin typeface="Helvetica" pitchFamily="2" charset="0"/>
              </a:defRPr>
            </a:lvl4pPr>
            <a:lvl5pPr>
              <a:defRPr sz="1550" b="1" i="0">
                <a:latin typeface="Helvetica" pitchFamily="2" charset="0"/>
              </a:defRPr>
            </a:lvl5pPr>
          </a:lstStyle>
          <a:p>
            <a:endParaRPr lang="it-IT" dirty="0"/>
          </a:p>
        </p:txBody>
      </p:sp>
      <p:sp>
        <p:nvSpPr>
          <p:cNvPr id="32" name="Holder 4"/>
          <p:cNvSpPr>
            <a:spLocks noGrp="1"/>
          </p:cNvSpPr>
          <p:nvPr>
            <p:ph sz="half" idx="17"/>
          </p:nvPr>
        </p:nvSpPr>
        <p:spPr>
          <a:xfrm>
            <a:off x="10857946" y="3671244"/>
            <a:ext cx="7233284" cy="2448989"/>
          </a:xfrm>
          <a:prstGeom prst="rect">
            <a:avLst/>
          </a:prstGeom>
          <a:solidFill>
            <a:srgbClr val="E5E5E5"/>
          </a:solidFill>
        </p:spPr>
        <p:txBody>
          <a:bodyPr/>
          <a:lstStyle>
            <a:lvl1pPr>
              <a:defRPr/>
            </a:lvl1pPr>
          </a:lstStyle>
          <a:p>
            <a:endParaRPr dirty="0"/>
          </a:p>
        </p:txBody>
      </p:sp>
      <p:sp>
        <p:nvSpPr>
          <p:cNvPr id="37" name="Segnaposto testo 21"/>
          <p:cNvSpPr>
            <a:spLocks noGrp="1"/>
          </p:cNvSpPr>
          <p:nvPr>
            <p:ph type="body" sz="quarter" idx="18"/>
          </p:nvPr>
        </p:nvSpPr>
        <p:spPr>
          <a:xfrm>
            <a:off x="10857946" y="6447778"/>
            <a:ext cx="5165186" cy="269304"/>
          </a:xfrm>
        </p:spPr>
        <p:txBody>
          <a:bodyPr/>
          <a:lstStyle>
            <a:lvl1pPr>
              <a:defRPr sz="1750" b="1" i="0" u="sng">
                <a:latin typeface="Helvetica" pitchFamily="2" charset="0"/>
              </a:defRPr>
            </a:lvl1pPr>
            <a:lvl2pPr>
              <a:defRPr sz="1750" b="1" i="0" u="sng">
                <a:latin typeface="Helvetica" pitchFamily="2" charset="0"/>
              </a:defRPr>
            </a:lvl2pPr>
            <a:lvl3pPr>
              <a:defRPr sz="1750" b="1" i="0" u="sng">
                <a:latin typeface="Helvetica" pitchFamily="2" charset="0"/>
              </a:defRPr>
            </a:lvl3pPr>
            <a:lvl4pPr>
              <a:defRPr sz="1750" b="1" i="0" u="sng">
                <a:latin typeface="Helvetica" pitchFamily="2" charset="0"/>
              </a:defRPr>
            </a:lvl4pPr>
            <a:lvl5pPr>
              <a:defRPr sz="1750" b="1" i="0" u="sng">
                <a:latin typeface="Helvetica" pitchFamily="2" charset="0"/>
              </a:defRPr>
            </a:lvl5pPr>
          </a:lstStyle>
          <a:p>
            <a:pPr lvl="0"/>
            <a:endParaRPr lang="it-IT" dirty="0"/>
          </a:p>
        </p:txBody>
      </p:sp>
      <p:sp>
        <p:nvSpPr>
          <p:cNvPr id="38" name="Segnaposto testo 24"/>
          <p:cNvSpPr>
            <a:spLocks noGrp="1"/>
          </p:cNvSpPr>
          <p:nvPr>
            <p:ph type="body" sz="quarter" idx="19"/>
          </p:nvPr>
        </p:nvSpPr>
        <p:spPr>
          <a:xfrm>
            <a:off x="10857407" y="6888410"/>
            <a:ext cx="5699125" cy="238527"/>
          </a:xfrm>
        </p:spPr>
        <p:txBody>
          <a:bodyPr/>
          <a:lstStyle>
            <a:lvl1pPr>
              <a:defRPr sz="1550" b="0" i="0">
                <a:latin typeface="Helvetica" pitchFamily="2" charset="0"/>
              </a:defRPr>
            </a:lvl1pPr>
            <a:lvl2pPr>
              <a:defRPr sz="1550" b="1" i="0">
                <a:latin typeface="Helvetica" pitchFamily="2" charset="0"/>
              </a:defRPr>
            </a:lvl2pPr>
            <a:lvl3pPr>
              <a:defRPr sz="1550" b="1" i="0">
                <a:latin typeface="Helvetica" pitchFamily="2" charset="0"/>
              </a:defRPr>
            </a:lvl3pPr>
            <a:lvl4pPr>
              <a:defRPr sz="1550" b="1" i="0">
                <a:latin typeface="Helvetica" pitchFamily="2" charset="0"/>
              </a:defRPr>
            </a:lvl4pPr>
            <a:lvl5pPr>
              <a:defRPr sz="1550" b="1" i="0">
                <a:latin typeface="Helvetica" pitchFamily="2" charset="0"/>
              </a:defRPr>
            </a:lvl5pPr>
          </a:lstStyle>
          <a:p>
            <a:pPr lvl="0"/>
            <a:endParaRPr lang="it-IT" dirty="0"/>
          </a:p>
        </p:txBody>
      </p:sp>
      <p:sp>
        <p:nvSpPr>
          <p:cNvPr id="39" name="Segnaposto testo 21"/>
          <p:cNvSpPr>
            <a:spLocks noGrp="1"/>
          </p:cNvSpPr>
          <p:nvPr>
            <p:ph type="body" sz="quarter" idx="20"/>
          </p:nvPr>
        </p:nvSpPr>
        <p:spPr>
          <a:xfrm>
            <a:off x="10857946" y="8359545"/>
            <a:ext cx="5165186" cy="269304"/>
          </a:xfrm>
        </p:spPr>
        <p:txBody>
          <a:bodyPr/>
          <a:lstStyle>
            <a:lvl1pPr>
              <a:defRPr sz="1750" b="1" i="0" u="sng">
                <a:latin typeface="Helvetica" pitchFamily="2" charset="0"/>
              </a:defRPr>
            </a:lvl1pPr>
            <a:lvl2pPr>
              <a:defRPr sz="1750" b="1" i="0" u="sng">
                <a:latin typeface="Helvetica" pitchFamily="2" charset="0"/>
              </a:defRPr>
            </a:lvl2pPr>
            <a:lvl3pPr>
              <a:defRPr sz="1750" b="1" i="0" u="sng">
                <a:latin typeface="Helvetica" pitchFamily="2" charset="0"/>
              </a:defRPr>
            </a:lvl3pPr>
            <a:lvl4pPr>
              <a:defRPr sz="1750" b="1" i="0" u="sng">
                <a:latin typeface="Helvetica" pitchFamily="2" charset="0"/>
              </a:defRPr>
            </a:lvl4pPr>
            <a:lvl5pPr>
              <a:defRPr sz="1750" b="1" i="0" u="sng">
                <a:latin typeface="Helvetica" pitchFamily="2" charset="0"/>
              </a:defRPr>
            </a:lvl5pPr>
          </a:lstStyle>
          <a:p>
            <a:pPr lvl="0"/>
            <a:endParaRPr lang="it-IT" dirty="0"/>
          </a:p>
        </p:txBody>
      </p:sp>
      <p:sp>
        <p:nvSpPr>
          <p:cNvPr id="40" name="Segnaposto testo 24"/>
          <p:cNvSpPr>
            <a:spLocks noGrp="1"/>
          </p:cNvSpPr>
          <p:nvPr>
            <p:ph type="body" sz="quarter" idx="21"/>
          </p:nvPr>
        </p:nvSpPr>
        <p:spPr>
          <a:xfrm>
            <a:off x="10857407" y="8800177"/>
            <a:ext cx="5699125" cy="238527"/>
          </a:xfrm>
        </p:spPr>
        <p:txBody>
          <a:bodyPr/>
          <a:lstStyle>
            <a:lvl1pPr>
              <a:defRPr sz="1550" b="0" i="0">
                <a:latin typeface="Helvetica" pitchFamily="2" charset="0"/>
              </a:defRPr>
            </a:lvl1pPr>
            <a:lvl2pPr>
              <a:defRPr sz="1550" b="1" i="0">
                <a:latin typeface="Helvetica" pitchFamily="2" charset="0"/>
              </a:defRPr>
            </a:lvl2pPr>
            <a:lvl3pPr>
              <a:defRPr sz="1550" b="1" i="0">
                <a:latin typeface="Helvetica" pitchFamily="2" charset="0"/>
              </a:defRPr>
            </a:lvl3pPr>
            <a:lvl4pPr>
              <a:defRPr sz="1550" b="1" i="0">
                <a:latin typeface="Helvetica" pitchFamily="2" charset="0"/>
              </a:defRPr>
            </a:lvl4pPr>
            <a:lvl5pPr>
              <a:defRPr sz="1550" b="1" i="0">
                <a:latin typeface="Helvetica" pitchFamily="2" charset="0"/>
              </a:defRPr>
            </a:lvl5pPr>
          </a:lstStyle>
          <a:p>
            <a:pPr lvl="0"/>
            <a:endParaRPr lang="it-IT" dirty="0"/>
          </a:p>
        </p:txBody>
      </p:sp>
      <p:sp>
        <p:nvSpPr>
          <p:cNvPr id="41" name="Segnaposto testo 21"/>
          <p:cNvSpPr>
            <a:spLocks noGrp="1"/>
          </p:cNvSpPr>
          <p:nvPr>
            <p:ph type="body" sz="quarter" idx="22"/>
          </p:nvPr>
        </p:nvSpPr>
        <p:spPr>
          <a:xfrm>
            <a:off x="10857946" y="10233316"/>
            <a:ext cx="5165186" cy="269304"/>
          </a:xfrm>
        </p:spPr>
        <p:txBody>
          <a:bodyPr/>
          <a:lstStyle>
            <a:lvl1pPr>
              <a:defRPr sz="1750" b="1" i="0" u="sng">
                <a:latin typeface="Helvetica" pitchFamily="2" charset="0"/>
              </a:defRPr>
            </a:lvl1pPr>
            <a:lvl2pPr>
              <a:defRPr sz="1750" b="1" i="0" u="sng">
                <a:latin typeface="Helvetica" pitchFamily="2" charset="0"/>
              </a:defRPr>
            </a:lvl2pPr>
            <a:lvl3pPr>
              <a:defRPr sz="1750" b="1" i="0" u="sng">
                <a:latin typeface="Helvetica" pitchFamily="2" charset="0"/>
              </a:defRPr>
            </a:lvl3pPr>
            <a:lvl4pPr>
              <a:defRPr sz="1750" b="1" i="0" u="sng">
                <a:latin typeface="Helvetica" pitchFamily="2" charset="0"/>
              </a:defRPr>
            </a:lvl4pPr>
            <a:lvl5pPr>
              <a:defRPr sz="1750" b="1" i="0" u="sng">
                <a:latin typeface="Helvetica" pitchFamily="2" charset="0"/>
              </a:defRPr>
            </a:lvl5pPr>
          </a:lstStyle>
          <a:p>
            <a:pPr lvl="0"/>
            <a:endParaRPr lang="it-IT" dirty="0"/>
          </a:p>
        </p:txBody>
      </p:sp>
      <p:sp>
        <p:nvSpPr>
          <p:cNvPr id="42" name="Segnaposto testo 24"/>
          <p:cNvSpPr>
            <a:spLocks noGrp="1"/>
          </p:cNvSpPr>
          <p:nvPr>
            <p:ph type="body" sz="quarter" idx="23"/>
          </p:nvPr>
        </p:nvSpPr>
        <p:spPr>
          <a:xfrm>
            <a:off x="10857407" y="10673948"/>
            <a:ext cx="5699125" cy="238527"/>
          </a:xfrm>
        </p:spPr>
        <p:txBody>
          <a:bodyPr numCol="2"/>
          <a:lstStyle>
            <a:lvl1pPr marL="12065" indent="0">
              <a:buNone/>
              <a:defRPr sz="1550" b="0" i="0">
                <a:latin typeface="Helvetica" pitchFamily="2" charset="0"/>
              </a:defRPr>
            </a:lvl1pPr>
            <a:lvl2pPr>
              <a:defRPr sz="1550" b="1" i="0">
                <a:latin typeface="Helvetica" pitchFamily="2" charset="0"/>
              </a:defRPr>
            </a:lvl2pPr>
            <a:lvl3pPr>
              <a:defRPr sz="1550" b="1" i="0">
                <a:latin typeface="Helvetica" pitchFamily="2" charset="0"/>
              </a:defRPr>
            </a:lvl3pPr>
            <a:lvl4pPr>
              <a:defRPr sz="1550" b="1" i="0">
                <a:latin typeface="Helvetica" pitchFamily="2" charset="0"/>
              </a:defRPr>
            </a:lvl4pPr>
            <a:lvl5pPr>
              <a:defRPr sz="1550" b="1" i="0">
                <a:latin typeface="Helvetica" pitchFamily="2" charset="0"/>
              </a:defRPr>
            </a:lvl5pPr>
          </a:lstStyle>
          <a:p>
            <a:endParaRPr lang="it-IT" dirty="0"/>
          </a:p>
        </p:txBody>
      </p:sp>
      <p:sp>
        <p:nvSpPr>
          <p:cNvPr id="44" name="Segnaposto testo 43"/>
          <p:cNvSpPr>
            <a:spLocks noGrp="1"/>
          </p:cNvSpPr>
          <p:nvPr>
            <p:ph type="body" sz="quarter" idx="24"/>
          </p:nvPr>
        </p:nvSpPr>
        <p:spPr>
          <a:xfrm>
            <a:off x="10856913" y="3120965"/>
            <a:ext cx="7233284" cy="400110"/>
          </a:xfrm>
        </p:spPr>
        <p:txBody>
          <a:bodyPr/>
          <a:lstStyle>
            <a:lvl1pPr>
              <a:defRPr sz="2600" b="1" i="0" u="sng">
                <a:latin typeface="Helvetica" pitchFamily="2" charset="0"/>
              </a:defRPr>
            </a:lvl1pPr>
            <a:lvl2pPr>
              <a:defRPr sz="2600" b="1" i="0">
                <a:latin typeface="Helvetica" pitchFamily="2" charset="0"/>
              </a:defRPr>
            </a:lvl2pPr>
            <a:lvl3pPr>
              <a:defRPr sz="2600" b="1" i="0">
                <a:latin typeface="Helvetica" pitchFamily="2" charset="0"/>
              </a:defRPr>
            </a:lvl3pPr>
            <a:lvl4pPr>
              <a:defRPr sz="2600" b="1" i="0">
                <a:latin typeface="Helvetica" pitchFamily="2" charset="0"/>
              </a:defRPr>
            </a:lvl4pPr>
            <a:lvl5pPr>
              <a:defRPr sz="2600" b="1" i="0">
                <a:latin typeface="Helvetica" pitchFamily="2" charset="0"/>
              </a:defRPr>
            </a:lvl5pPr>
          </a:lstStyle>
          <a:p>
            <a:pPr lvl="0"/>
            <a:endParaRPr lang="it-IT" dirty="0"/>
          </a:p>
        </p:txBody>
      </p:sp>
      <p:sp>
        <p:nvSpPr>
          <p:cNvPr id="45" name="Segnaposto testo 43"/>
          <p:cNvSpPr>
            <a:spLocks noGrp="1"/>
          </p:cNvSpPr>
          <p:nvPr>
            <p:ph type="body" sz="quarter" idx="25"/>
          </p:nvPr>
        </p:nvSpPr>
        <p:spPr>
          <a:xfrm>
            <a:off x="1554270" y="3120965"/>
            <a:ext cx="7233284" cy="400110"/>
          </a:xfrm>
        </p:spPr>
        <p:txBody>
          <a:bodyPr/>
          <a:lstStyle>
            <a:lvl1pPr>
              <a:defRPr sz="2600" b="1" i="0" u="sng">
                <a:latin typeface="Helvetica" pitchFamily="2" charset="0"/>
              </a:defRPr>
            </a:lvl1pPr>
            <a:lvl2pPr>
              <a:defRPr sz="2600" b="1" i="0">
                <a:latin typeface="Helvetica" pitchFamily="2" charset="0"/>
              </a:defRPr>
            </a:lvl2pPr>
            <a:lvl3pPr>
              <a:defRPr sz="2600" b="1" i="0">
                <a:latin typeface="Helvetica" pitchFamily="2" charset="0"/>
              </a:defRPr>
            </a:lvl3pPr>
            <a:lvl4pPr>
              <a:defRPr sz="2600" b="1" i="0">
                <a:latin typeface="Helvetica" pitchFamily="2" charset="0"/>
              </a:defRPr>
            </a:lvl4pPr>
            <a:lvl5pPr>
              <a:defRPr sz="2600" b="1" i="0">
                <a:latin typeface="Helvetica" pitchFamily="2" charset="0"/>
              </a:defRPr>
            </a:lvl5pPr>
          </a:lstStyle>
          <a:p>
            <a:pPr lvl="0"/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412839623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Predmet 1" hidden="1">
            <a:extLst>
              <a:ext uri="{FF2B5EF4-FFF2-40B4-BE49-F238E27FC236}">
                <a16:creationId xmlns:a16="http://schemas.microsoft.com/office/drawing/2014/main" id="{EF210F11-D4A9-8AFB-0017-5C4454C245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2" name="Predmet 1" hidden="1">
                        <a:extLst>
                          <a:ext uri="{FF2B5EF4-FFF2-40B4-BE49-F238E27FC236}">
                            <a16:creationId xmlns:a16="http://schemas.microsoft.com/office/drawing/2014/main" id="{EF210F11-D4A9-8AFB-0017-5C4454C24593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bg object 16">
            <a:extLst>
              <a:ext uri="{FF2B5EF4-FFF2-40B4-BE49-F238E27FC236}">
                <a16:creationId xmlns:a16="http://schemas.microsoft.com/office/drawing/2014/main" id="{6D4D6F03-FB39-BB4E-CF0D-8EC3794FBFCB}"/>
              </a:ext>
            </a:extLst>
          </p:cNvPr>
          <p:cNvSpPr>
            <a:spLocks/>
          </p:cNvSpPr>
          <p:nvPr userDrawn="1"/>
        </p:nvSpPr>
        <p:spPr bwMode="auto">
          <a:xfrm>
            <a:off x="0" y="15875"/>
            <a:ext cx="20104100" cy="1530350"/>
          </a:xfrm>
          <a:custGeom>
            <a:avLst/>
            <a:gdLst>
              <a:gd name="T0" fmla="*/ 0 w 20104100"/>
              <a:gd name="T1" fmla="*/ 1530592 h 1530985"/>
              <a:gd name="T2" fmla="*/ 20104099 w 20104100"/>
              <a:gd name="T3" fmla="*/ 1530592 h 1530985"/>
              <a:gd name="T4" fmla="*/ 20104099 w 20104100"/>
              <a:gd name="T5" fmla="*/ 0 h 1530985"/>
              <a:gd name="T6" fmla="*/ 0 w 20104100"/>
              <a:gd name="T7" fmla="*/ 0 h 1530985"/>
              <a:gd name="T8" fmla="*/ 0 w 20104100"/>
              <a:gd name="T9" fmla="*/ 1530592 h 15309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0104100" h="1530985">
                <a:moveTo>
                  <a:pt x="0" y="1530592"/>
                </a:moveTo>
                <a:lnTo>
                  <a:pt x="20104099" y="1530592"/>
                </a:lnTo>
                <a:lnTo>
                  <a:pt x="20104099" y="0"/>
                </a:lnTo>
                <a:lnTo>
                  <a:pt x="0" y="0"/>
                </a:lnTo>
                <a:lnTo>
                  <a:pt x="0" y="1530592"/>
                </a:lnTo>
                <a:close/>
              </a:path>
            </a:pathLst>
          </a:custGeom>
          <a:solidFill>
            <a:srgbClr val="767B6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en-AU"/>
          </a:p>
        </p:txBody>
      </p:sp>
      <p:sp>
        <p:nvSpPr>
          <p:cNvPr id="4" name="Holder 2">
            <a:extLst>
              <a:ext uri="{FF2B5EF4-FFF2-40B4-BE49-F238E27FC236}">
                <a16:creationId xmlns:a16="http://schemas.microsoft.com/office/drawing/2014/main" id="{A10CD91D-D271-CEB6-5D5E-875CAA363D62}"/>
              </a:ext>
            </a:extLst>
          </p:cNvPr>
          <p:cNvSpPr txBox="1">
            <a:spLocks/>
          </p:cNvSpPr>
          <p:nvPr userDrawn="1"/>
        </p:nvSpPr>
        <p:spPr>
          <a:xfrm>
            <a:off x="3956050" y="606425"/>
            <a:ext cx="10163175" cy="400050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>
            <a:lvl1pPr>
              <a:defRPr sz="2600" b="1" i="0">
                <a:solidFill>
                  <a:schemeClr val="bg1"/>
                </a:solidFill>
                <a:latin typeface="Helvetica" pitchFamily="2" charset="0"/>
                <a:ea typeface="+mj-ea"/>
                <a:cs typeface="Helvetica Neue"/>
              </a:defRPr>
            </a:lvl1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it-IT" b="0" kern="0" spc="300" dirty="0">
                <a:latin typeface="Helvetica Light" panose="020B0403020202020204" pitchFamily="34" charset="0"/>
              </a:rPr>
              <a:t>COLLECTION</a:t>
            </a:r>
          </a:p>
        </p:txBody>
      </p:sp>
      <p:sp>
        <p:nvSpPr>
          <p:cNvPr id="5" name="Holder 2">
            <a:extLst>
              <a:ext uri="{FF2B5EF4-FFF2-40B4-BE49-F238E27FC236}">
                <a16:creationId xmlns:a16="http://schemas.microsoft.com/office/drawing/2014/main" id="{9D1D61BB-B3D0-A42D-EF39-AAEAAFA4D896}"/>
              </a:ext>
            </a:extLst>
          </p:cNvPr>
          <p:cNvSpPr txBox="1">
            <a:spLocks/>
          </p:cNvSpPr>
          <p:nvPr userDrawn="1"/>
        </p:nvSpPr>
        <p:spPr>
          <a:xfrm>
            <a:off x="679450" y="606425"/>
            <a:ext cx="3505200" cy="400050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>
            <a:lvl1pPr>
              <a:defRPr sz="2600" b="1" i="0">
                <a:solidFill>
                  <a:schemeClr val="bg1"/>
                </a:solidFill>
                <a:latin typeface="Helvetica" pitchFamily="2" charset="0"/>
                <a:ea typeface="+mj-ea"/>
                <a:cs typeface="Helvetica Neue"/>
              </a:defRPr>
            </a:lvl1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it-IT" spc="600" dirty="0"/>
              <a:t>CAMPERVANS</a:t>
            </a:r>
            <a:endParaRPr lang="it-IT" kern="0" spc="600" dirty="0"/>
          </a:p>
        </p:txBody>
      </p:sp>
      <p:sp>
        <p:nvSpPr>
          <p:cNvPr id="7" name="object 2">
            <a:extLst>
              <a:ext uri="{FF2B5EF4-FFF2-40B4-BE49-F238E27FC236}">
                <a16:creationId xmlns:a16="http://schemas.microsoft.com/office/drawing/2014/main" id="{0268EE2E-3804-D0E5-BCD0-ADE067049479}"/>
              </a:ext>
            </a:extLst>
          </p:cNvPr>
          <p:cNvSpPr>
            <a:spLocks/>
          </p:cNvSpPr>
          <p:nvPr userDrawn="1"/>
        </p:nvSpPr>
        <p:spPr bwMode="auto">
          <a:xfrm>
            <a:off x="16451263" y="663575"/>
            <a:ext cx="3090862" cy="254000"/>
          </a:xfrm>
          <a:custGeom>
            <a:avLst/>
            <a:gdLst>
              <a:gd name="T0" fmla="*/ 343852 w 3090544"/>
              <a:gd name="T1" fmla="*/ 175133 h 253365"/>
              <a:gd name="T2" fmla="*/ 293979 w 3090544"/>
              <a:gd name="T3" fmla="*/ 165417 h 253365"/>
              <a:gd name="T4" fmla="*/ 266420 w 3090544"/>
              <a:gd name="T5" fmla="*/ 207365 h 253365"/>
              <a:gd name="T6" fmla="*/ 293979 w 3090544"/>
              <a:gd name="T7" fmla="*/ 249301 h 253365"/>
              <a:gd name="T8" fmla="*/ 343852 w 3090544"/>
              <a:gd name="T9" fmla="*/ 239534 h 253365"/>
              <a:gd name="T10" fmla="*/ 622452 w 3090544"/>
              <a:gd name="T11" fmla="*/ 246989 h 253365"/>
              <a:gd name="T12" fmla="*/ 413931 w 3090544"/>
              <a:gd name="T13" fmla="*/ 7061 h 253365"/>
              <a:gd name="T14" fmla="*/ 75628 w 3090544"/>
              <a:gd name="T15" fmla="*/ 9728 h 253365"/>
              <a:gd name="T16" fmla="*/ 0 w 3090544"/>
              <a:gd name="T17" fmla="*/ 123494 h 253365"/>
              <a:gd name="T18" fmla="*/ 75628 w 3090544"/>
              <a:gd name="T19" fmla="*/ 237286 h 253365"/>
              <a:gd name="T20" fmla="*/ 238823 w 3090544"/>
              <a:gd name="T21" fmla="*/ 203530 h 253365"/>
              <a:gd name="T22" fmla="*/ 164350 w 3090544"/>
              <a:gd name="T23" fmla="*/ 153962 h 253365"/>
              <a:gd name="T24" fmla="*/ 181749 w 3090544"/>
              <a:gd name="T25" fmla="*/ 65608 h 253365"/>
              <a:gd name="T26" fmla="*/ 258483 w 3090544"/>
              <a:gd name="T27" fmla="*/ 44411 h 253365"/>
              <a:gd name="T28" fmla="*/ 303085 w 3090544"/>
              <a:gd name="T29" fmla="*/ 74142 h 253365"/>
              <a:gd name="T30" fmla="*/ 1268044 w 3090544"/>
              <a:gd name="T31" fmla="*/ 248894 h 253365"/>
              <a:gd name="T32" fmla="*/ 1146378 w 3090544"/>
              <a:gd name="T33" fmla="*/ 92595 h 253365"/>
              <a:gd name="T34" fmla="*/ 1023289 w 3090544"/>
              <a:gd name="T35" fmla="*/ 174459 h 253365"/>
              <a:gd name="T36" fmla="*/ 1023289 w 3090544"/>
              <a:gd name="T37" fmla="*/ 174459 h 253365"/>
              <a:gd name="T38" fmla="*/ 906818 w 3090544"/>
              <a:gd name="T39" fmla="*/ 52743 h 253365"/>
              <a:gd name="T40" fmla="*/ 864831 w 3090544"/>
              <a:gd name="T41" fmla="*/ 218249 h 253365"/>
              <a:gd name="T42" fmla="*/ 1268044 w 3090544"/>
              <a:gd name="T43" fmla="*/ 248894 h 253365"/>
              <a:gd name="T44" fmla="*/ 1706829 w 3090544"/>
              <a:gd name="T45" fmla="*/ 43764 h 253365"/>
              <a:gd name="T46" fmla="*/ 1585315 w 3090544"/>
              <a:gd name="T47" fmla="*/ 2298 h 253365"/>
              <a:gd name="T48" fmla="*/ 1564487 w 3090544"/>
              <a:gd name="T49" fmla="*/ 183870 h 253365"/>
              <a:gd name="T50" fmla="*/ 1458353 w 3090544"/>
              <a:gd name="T51" fmla="*/ 205105 h 253365"/>
              <a:gd name="T52" fmla="*/ 1538414 w 3090544"/>
              <a:gd name="T53" fmla="*/ 49377 h 253365"/>
              <a:gd name="T54" fmla="*/ 1585315 w 3090544"/>
              <a:gd name="T55" fmla="*/ 124942 h 253365"/>
              <a:gd name="T56" fmla="*/ 1301597 w 3090544"/>
              <a:gd name="T57" fmla="*/ 0 h 253365"/>
              <a:gd name="T58" fmla="*/ 1604314 w 3090544"/>
              <a:gd name="T59" fmla="*/ 245668 h 253365"/>
              <a:gd name="T60" fmla="*/ 1735251 w 3090544"/>
              <a:gd name="T61" fmla="*/ 164058 h 253365"/>
              <a:gd name="T62" fmla="*/ 2206523 w 3090544"/>
              <a:gd name="T63" fmla="*/ 157530 h 253365"/>
              <a:gd name="T64" fmla="*/ 2261095 w 3090544"/>
              <a:gd name="T65" fmla="*/ 106921 h 253365"/>
              <a:gd name="T66" fmla="*/ 2252942 w 3090544"/>
              <a:gd name="T67" fmla="*/ 43802 h 253365"/>
              <a:gd name="T68" fmla="*/ 2154047 w 3090544"/>
              <a:gd name="T69" fmla="*/ 0 h 253365"/>
              <a:gd name="T70" fmla="*/ 1977072 w 3090544"/>
              <a:gd name="T71" fmla="*/ 248894 h 253365"/>
              <a:gd name="T72" fmla="*/ 2073948 w 3090544"/>
              <a:gd name="T73" fmla="*/ 47777 h 253365"/>
              <a:gd name="T74" fmla="*/ 2104517 w 3090544"/>
              <a:gd name="T75" fmla="*/ 89331 h 253365"/>
              <a:gd name="T76" fmla="*/ 2063915 w 3090544"/>
              <a:gd name="T77" fmla="*/ 136613 h 253365"/>
              <a:gd name="T78" fmla="*/ 2081834 w 3090544"/>
              <a:gd name="T79" fmla="*/ 248894 h 253365"/>
              <a:gd name="T80" fmla="*/ 2366886 w 3090544"/>
              <a:gd name="T81" fmla="*/ 12 h 253365"/>
              <a:gd name="T82" fmla="*/ 2523629 w 3090544"/>
              <a:gd name="T83" fmla="*/ 12 h 253365"/>
              <a:gd name="T84" fmla="*/ 3032163 w 3090544"/>
              <a:gd name="T85" fmla="*/ 174459 h 253365"/>
              <a:gd name="T86" fmla="*/ 2845473 w 3090544"/>
              <a:gd name="T87" fmla="*/ 0 h 253365"/>
              <a:gd name="T88" fmla="*/ 2782201 w 3090544"/>
              <a:gd name="T89" fmla="*/ 92595 h 253365"/>
              <a:gd name="T90" fmla="*/ 2688132 w 3090544"/>
              <a:gd name="T91" fmla="*/ 0 h 253365"/>
              <a:gd name="T92" fmla="*/ 2661729 w 3090544"/>
              <a:gd name="T93" fmla="*/ 248894 h 253365"/>
              <a:gd name="T94" fmla="*/ 2902902 w 3090544"/>
              <a:gd name="T95" fmla="*/ 248894 h 25336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3090544" h="253365">
                <a:moveTo>
                  <a:pt x="357009" y="207365"/>
                </a:moveTo>
                <a:lnTo>
                  <a:pt x="353491" y="189585"/>
                </a:lnTo>
                <a:lnTo>
                  <a:pt x="343852" y="175133"/>
                </a:lnTo>
                <a:lnTo>
                  <a:pt x="329476" y="165417"/>
                </a:lnTo>
                <a:lnTo>
                  <a:pt x="311746" y="161861"/>
                </a:lnTo>
                <a:lnTo>
                  <a:pt x="293979" y="165417"/>
                </a:lnTo>
                <a:lnTo>
                  <a:pt x="279577" y="175133"/>
                </a:lnTo>
                <a:lnTo>
                  <a:pt x="269938" y="189585"/>
                </a:lnTo>
                <a:lnTo>
                  <a:pt x="266420" y="207365"/>
                </a:lnTo>
                <a:lnTo>
                  <a:pt x="269938" y="225056"/>
                </a:lnTo>
                <a:lnTo>
                  <a:pt x="279577" y="239534"/>
                </a:lnTo>
                <a:lnTo>
                  <a:pt x="293979" y="249301"/>
                </a:lnTo>
                <a:lnTo>
                  <a:pt x="311746" y="252895"/>
                </a:lnTo>
                <a:lnTo>
                  <a:pt x="329476" y="249301"/>
                </a:lnTo>
                <a:lnTo>
                  <a:pt x="343852" y="239534"/>
                </a:lnTo>
                <a:lnTo>
                  <a:pt x="353491" y="225056"/>
                </a:lnTo>
                <a:lnTo>
                  <a:pt x="357009" y="207365"/>
                </a:lnTo>
                <a:close/>
              </a:path>
              <a:path w="3090544" h="253365">
                <a:moveTo>
                  <a:pt x="622452" y="246989"/>
                </a:moveTo>
                <a:lnTo>
                  <a:pt x="493928" y="81991"/>
                </a:lnTo>
                <a:lnTo>
                  <a:pt x="469874" y="51904"/>
                </a:lnTo>
                <a:lnTo>
                  <a:pt x="413931" y="7061"/>
                </a:lnTo>
                <a:lnTo>
                  <a:pt x="377621" y="12"/>
                </a:lnTo>
                <a:lnTo>
                  <a:pt x="123710" y="12"/>
                </a:lnTo>
                <a:lnTo>
                  <a:pt x="75628" y="9728"/>
                </a:lnTo>
                <a:lnTo>
                  <a:pt x="36296" y="36195"/>
                </a:lnTo>
                <a:lnTo>
                  <a:pt x="9740" y="75450"/>
                </a:lnTo>
                <a:lnTo>
                  <a:pt x="0" y="123494"/>
                </a:lnTo>
                <a:lnTo>
                  <a:pt x="9740" y="171564"/>
                </a:lnTo>
                <a:lnTo>
                  <a:pt x="36296" y="210820"/>
                </a:lnTo>
                <a:lnTo>
                  <a:pt x="75628" y="237286"/>
                </a:lnTo>
                <a:lnTo>
                  <a:pt x="123710" y="246989"/>
                </a:lnTo>
                <a:lnTo>
                  <a:pt x="238823" y="246989"/>
                </a:lnTo>
                <a:lnTo>
                  <a:pt x="238823" y="203530"/>
                </a:lnTo>
                <a:lnTo>
                  <a:pt x="207429" y="197129"/>
                </a:lnTo>
                <a:lnTo>
                  <a:pt x="181724" y="179705"/>
                </a:lnTo>
                <a:lnTo>
                  <a:pt x="164350" y="153962"/>
                </a:lnTo>
                <a:lnTo>
                  <a:pt x="157975" y="122542"/>
                </a:lnTo>
                <a:lnTo>
                  <a:pt x="164363" y="91198"/>
                </a:lnTo>
                <a:lnTo>
                  <a:pt x="181749" y="65608"/>
                </a:lnTo>
                <a:lnTo>
                  <a:pt x="207530" y="48361"/>
                </a:lnTo>
                <a:lnTo>
                  <a:pt x="239064" y="42037"/>
                </a:lnTo>
                <a:lnTo>
                  <a:pt x="258483" y="44411"/>
                </a:lnTo>
                <a:lnTo>
                  <a:pt x="275844" y="51041"/>
                </a:lnTo>
                <a:lnTo>
                  <a:pt x="290817" y="61201"/>
                </a:lnTo>
                <a:lnTo>
                  <a:pt x="303085" y="74142"/>
                </a:lnTo>
                <a:lnTo>
                  <a:pt x="436664" y="246989"/>
                </a:lnTo>
                <a:lnTo>
                  <a:pt x="622452" y="246989"/>
                </a:lnTo>
                <a:close/>
              </a:path>
              <a:path w="3090544" h="253365">
                <a:moveTo>
                  <a:pt x="1268044" y="248894"/>
                </a:moveTo>
                <a:lnTo>
                  <a:pt x="1244193" y="218249"/>
                </a:lnTo>
                <a:lnTo>
                  <a:pt x="1210106" y="174459"/>
                </a:lnTo>
                <a:lnTo>
                  <a:pt x="1146378" y="92595"/>
                </a:lnTo>
                <a:lnTo>
                  <a:pt x="1074293" y="0"/>
                </a:lnTo>
                <a:lnTo>
                  <a:pt x="1023289" y="0"/>
                </a:lnTo>
                <a:lnTo>
                  <a:pt x="1023289" y="174459"/>
                </a:lnTo>
                <a:lnTo>
                  <a:pt x="894892" y="174459"/>
                </a:lnTo>
                <a:lnTo>
                  <a:pt x="960107" y="92595"/>
                </a:lnTo>
                <a:lnTo>
                  <a:pt x="1023289" y="174459"/>
                </a:lnTo>
                <a:lnTo>
                  <a:pt x="1023289" y="0"/>
                </a:lnTo>
                <a:lnTo>
                  <a:pt x="866051" y="0"/>
                </a:lnTo>
                <a:lnTo>
                  <a:pt x="906818" y="52743"/>
                </a:lnTo>
                <a:lnTo>
                  <a:pt x="746315" y="248894"/>
                </a:lnTo>
                <a:lnTo>
                  <a:pt x="839660" y="248894"/>
                </a:lnTo>
                <a:lnTo>
                  <a:pt x="864831" y="218249"/>
                </a:lnTo>
                <a:lnTo>
                  <a:pt x="1057160" y="218249"/>
                </a:lnTo>
                <a:lnTo>
                  <a:pt x="1080795" y="248894"/>
                </a:lnTo>
                <a:lnTo>
                  <a:pt x="1268044" y="248894"/>
                </a:lnTo>
                <a:close/>
              </a:path>
              <a:path w="3090544" h="253365">
                <a:moveTo>
                  <a:pt x="1740636" y="125158"/>
                </a:moveTo>
                <a:lnTo>
                  <a:pt x="1735315" y="86347"/>
                </a:lnTo>
                <a:lnTo>
                  <a:pt x="1706829" y="43764"/>
                </a:lnTo>
                <a:lnTo>
                  <a:pt x="1654098" y="13538"/>
                </a:lnTo>
                <a:lnTo>
                  <a:pt x="1604657" y="3365"/>
                </a:lnTo>
                <a:lnTo>
                  <a:pt x="1585315" y="2298"/>
                </a:lnTo>
                <a:lnTo>
                  <a:pt x="1585315" y="124942"/>
                </a:lnTo>
                <a:lnTo>
                  <a:pt x="1580108" y="158673"/>
                </a:lnTo>
                <a:lnTo>
                  <a:pt x="1564487" y="183870"/>
                </a:lnTo>
                <a:lnTo>
                  <a:pt x="1538516" y="199644"/>
                </a:lnTo>
                <a:lnTo>
                  <a:pt x="1502232" y="205105"/>
                </a:lnTo>
                <a:lnTo>
                  <a:pt x="1458353" y="205105"/>
                </a:lnTo>
                <a:lnTo>
                  <a:pt x="1458353" y="43764"/>
                </a:lnTo>
                <a:lnTo>
                  <a:pt x="1502232" y="43764"/>
                </a:lnTo>
                <a:lnTo>
                  <a:pt x="1538414" y="49377"/>
                </a:lnTo>
                <a:lnTo>
                  <a:pt x="1564398" y="65506"/>
                </a:lnTo>
                <a:lnTo>
                  <a:pt x="1580070" y="91059"/>
                </a:lnTo>
                <a:lnTo>
                  <a:pt x="1585315" y="124942"/>
                </a:lnTo>
                <a:lnTo>
                  <a:pt x="1585315" y="2298"/>
                </a:lnTo>
                <a:lnTo>
                  <a:pt x="1543723" y="0"/>
                </a:lnTo>
                <a:lnTo>
                  <a:pt x="1301597" y="0"/>
                </a:lnTo>
                <a:lnTo>
                  <a:pt x="1301597" y="248894"/>
                </a:lnTo>
                <a:lnTo>
                  <a:pt x="1543723" y="248894"/>
                </a:lnTo>
                <a:lnTo>
                  <a:pt x="1604314" y="245668"/>
                </a:lnTo>
                <a:lnTo>
                  <a:pt x="1653654" y="235839"/>
                </a:lnTo>
                <a:lnTo>
                  <a:pt x="1691855" y="219138"/>
                </a:lnTo>
                <a:lnTo>
                  <a:pt x="1735251" y="164058"/>
                </a:lnTo>
                <a:lnTo>
                  <a:pt x="1740636" y="125158"/>
                </a:lnTo>
                <a:close/>
              </a:path>
              <a:path w="3090544" h="253365">
                <a:moveTo>
                  <a:pt x="2277529" y="248894"/>
                </a:moveTo>
                <a:lnTo>
                  <a:pt x="2206523" y="157530"/>
                </a:lnTo>
                <a:lnTo>
                  <a:pt x="2231339" y="145008"/>
                </a:lnTo>
                <a:lnTo>
                  <a:pt x="2249703" y="127965"/>
                </a:lnTo>
                <a:lnTo>
                  <a:pt x="2261095" y="106921"/>
                </a:lnTo>
                <a:lnTo>
                  <a:pt x="2265019" y="82397"/>
                </a:lnTo>
                <a:lnTo>
                  <a:pt x="2258149" y="50393"/>
                </a:lnTo>
                <a:lnTo>
                  <a:pt x="2252942" y="43802"/>
                </a:lnTo>
                <a:lnTo>
                  <a:pt x="2237448" y="24193"/>
                </a:lnTo>
                <a:lnTo>
                  <a:pt x="2202789" y="6502"/>
                </a:lnTo>
                <a:lnTo>
                  <a:pt x="2154047" y="0"/>
                </a:lnTo>
                <a:lnTo>
                  <a:pt x="1820545" y="0"/>
                </a:lnTo>
                <a:lnTo>
                  <a:pt x="1820545" y="248894"/>
                </a:lnTo>
                <a:lnTo>
                  <a:pt x="1977072" y="248894"/>
                </a:lnTo>
                <a:lnTo>
                  <a:pt x="1977072" y="43802"/>
                </a:lnTo>
                <a:lnTo>
                  <a:pt x="2047989" y="43802"/>
                </a:lnTo>
                <a:lnTo>
                  <a:pt x="2073948" y="47777"/>
                </a:lnTo>
                <a:lnTo>
                  <a:pt x="2091486" y="58178"/>
                </a:lnTo>
                <a:lnTo>
                  <a:pt x="2101392" y="72783"/>
                </a:lnTo>
                <a:lnTo>
                  <a:pt x="2104517" y="89331"/>
                </a:lnTo>
                <a:lnTo>
                  <a:pt x="2098624" y="111201"/>
                </a:lnTo>
                <a:lnTo>
                  <a:pt x="2083714" y="127012"/>
                </a:lnTo>
                <a:lnTo>
                  <a:pt x="2063915" y="136613"/>
                </a:lnTo>
                <a:lnTo>
                  <a:pt x="2043353" y="139852"/>
                </a:lnTo>
                <a:lnTo>
                  <a:pt x="2022157" y="139852"/>
                </a:lnTo>
                <a:lnTo>
                  <a:pt x="2081834" y="248894"/>
                </a:lnTo>
                <a:lnTo>
                  <a:pt x="2277529" y="248894"/>
                </a:lnTo>
                <a:close/>
              </a:path>
              <a:path w="3090544" h="253365">
                <a:moveTo>
                  <a:pt x="2523629" y="12"/>
                </a:moveTo>
                <a:lnTo>
                  <a:pt x="2366886" y="12"/>
                </a:lnTo>
                <a:lnTo>
                  <a:pt x="2366886" y="248894"/>
                </a:lnTo>
                <a:lnTo>
                  <a:pt x="2523629" y="248894"/>
                </a:lnTo>
                <a:lnTo>
                  <a:pt x="2523629" y="12"/>
                </a:lnTo>
                <a:close/>
              </a:path>
              <a:path w="3090544" h="253365">
                <a:moveTo>
                  <a:pt x="3090049" y="248894"/>
                </a:moveTo>
                <a:lnTo>
                  <a:pt x="3066224" y="218249"/>
                </a:lnTo>
                <a:lnTo>
                  <a:pt x="3032163" y="174459"/>
                </a:lnTo>
                <a:lnTo>
                  <a:pt x="2968498" y="92595"/>
                </a:lnTo>
                <a:lnTo>
                  <a:pt x="2896476" y="0"/>
                </a:lnTo>
                <a:lnTo>
                  <a:pt x="2845473" y="0"/>
                </a:lnTo>
                <a:lnTo>
                  <a:pt x="2845473" y="174459"/>
                </a:lnTo>
                <a:lnTo>
                  <a:pt x="2716720" y="174459"/>
                </a:lnTo>
                <a:lnTo>
                  <a:pt x="2782201" y="92595"/>
                </a:lnTo>
                <a:lnTo>
                  <a:pt x="2845473" y="174459"/>
                </a:lnTo>
                <a:lnTo>
                  <a:pt x="2845473" y="0"/>
                </a:lnTo>
                <a:lnTo>
                  <a:pt x="2688132" y="0"/>
                </a:lnTo>
                <a:lnTo>
                  <a:pt x="2728988" y="52743"/>
                </a:lnTo>
                <a:lnTo>
                  <a:pt x="2568397" y="248894"/>
                </a:lnTo>
                <a:lnTo>
                  <a:pt x="2661729" y="248894"/>
                </a:lnTo>
                <a:lnTo>
                  <a:pt x="2686913" y="218249"/>
                </a:lnTo>
                <a:lnTo>
                  <a:pt x="2879267" y="218249"/>
                </a:lnTo>
                <a:lnTo>
                  <a:pt x="2902902" y="248894"/>
                </a:lnTo>
                <a:lnTo>
                  <a:pt x="3090049" y="248894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en-AU"/>
          </a:p>
        </p:txBody>
      </p:sp>
      <p:sp>
        <p:nvSpPr>
          <p:cNvPr id="8" name="object 2">
            <a:extLst>
              <a:ext uri="{FF2B5EF4-FFF2-40B4-BE49-F238E27FC236}">
                <a16:creationId xmlns:a16="http://schemas.microsoft.com/office/drawing/2014/main" id="{4F09906E-B5AD-A443-C26C-33F96916FEF3}"/>
              </a:ext>
            </a:extLst>
          </p:cNvPr>
          <p:cNvSpPr txBox="1"/>
          <p:nvPr userDrawn="1"/>
        </p:nvSpPr>
        <p:spPr>
          <a:xfrm>
            <a:off x="5835650" y="1758950"/>
            <a:ext cx="8432800" cy="1133475"/>
          </a:xfrm>
          <a:prstGeom prst="rect">
            <a:avLst/>
          </a:prstGeom>
        </p:spPr>
        <p:txBody>
          <a:bodyPr lIns="0" tIns="89535" rIns="0" bIns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it-IT" sz="2400" b="1" spc="300" dirty="0">
                <a:latin typeface="Helvetica Neue" panose="02000503000000020004" pitchFamily="2" charset="0"/>
              </a:rPr>
              <a:t>DESIGNED FOR YOU</a:t>
            </a:r>
            <a:endParaRPr lang="it-IT" sz="2400" spc="300" dirty="0">
              <a:latin typeface="Helvetica Neue" panose="02000503000000020004" pitchFamily="2" charset="0"/>
            </a:endParaRPr>
          </a:p>
          <a:p>
            <a:pPr algn="ctr" eaLnBrk="1" fontAlgn="auto" hangingPunct="1">
              <a:spcBef>
                <a:spcPts val="975"/>
              </a:spcBef>
              <a:spcAft>
                <a:spcPts val="0"/>
              </a:spcAft>
              <a:defRPr/>
            </a:pPr>
            <a:r>
              <a:rPr lang="it-IT" sz="3550" b="1" spc="300" dirty="0">
                <a:solidFill>
                  <a:srgbClr val="666666"/>
                </a:solidFill>
                <a:latin typeface="Helvetica Neue"/>
                <a:cs typeface="Helvetica Neue"/>
              </a:rPr>
              <a:t>FABRICS</a:t>
            </a:r>
            <a:endParaRPr lang="it-IT" sz="3550" spc="300" dirty="0">
              <a:latin typeface="Helvetica Neue"/>
              <a:cs typeface="Helvetica Neue"/>
            </a:endParaRPr>
          </a:p>
        </p:txBody>
      </p:sp>
      <p:sp>
        <p:nvSpPr>
          <p:cNvPr id="9" name="Holder 2">
            <a:extLst>
              <a:ext uri="{FF2B5EF4-FFF2-40B4-BE49-F238E27FC236}">
                <a16:creationId xmlns:a16="http://schemas.microsoft.com/office/drawing/2014/main" id="{539F85C5-EAEF-94B9-33B9-4C2624443A19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0858500" y="3167063"/>
            <a:ext cx="6376988" cy="914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/>
            <a:endParaRPr lang="sl-SI" altLang="sl-SI" sz="2600" b="1" u="sng">
              <a:solidFill>
                <a:srgbClr val="000000"/>
              </a:solidFill>
              <a:latin typeface="Helvetica" panose="020B0604020202020204" pitchFamily="34" charset="0"/>
            </a:endParaRPr>
          </a:p>
        </p:txBody>
      </p:sp>
      <p:sp>
        <p:nvSpPr>
          <p:cNvPr id="6" name="Holder 4"/>
          <p:cNvSpPr>
            <a:spLocks noGrp="1"/>
          </p:cNvSpPr>
          <p:nvPr>
            <p:ph sz="half" idx="3"/>
          </p:nvPr>
        </p:nvSpPr>
        <p:spPr>
          <a:xfrm>
            <a:off x="2869777" y="3867170"/>
            <a:ext cx="2458085" cy="1939763"/>
          </a:xfrm>
          <a:prstGeom prst="rect">
            <a:avLst/>
          </a:prstGeom>
          <a:solidFill>
            <a:srgbClr val="E5E5E5"/>
          </a:solidFill>
        </p:spPr>
        <p:txBody>
          <a:bodyPr/>
          <a:lstStyle>
            <a:lvl1pPr>
              <a:defRPr/>
            </a:lvl1pPr>
          </a:lstStyle>
          <a:p>
            <a:endParaRPr dirty="0"/>
          </a:p>
        </p:txBody>
      </p:sp>
      <p:sp>
        <p:nvSpPr>
          <p:cNvPr id="29" name="Segnaposto testo 43"/>
          <p:cNvSpPr>
            <a:spLocks noGrp="1"/>
          </p:cNvSpPr>
          <p:nvPr>
            <p:ph type="body" sz="quarter" idx="24"/>
          </p:nvPr>
        </p:nvSpPr>
        <p:spPr>
          <a:xfrm>
            <a:off x="11926457" y="3120965"/>
            <a:ext cx="6163739" cy="400110"/>
          </a:xfrm>
        </p:spPr>
        <p:txBody>
          <a:bodyPr/>
          <a:lstStyle>
            <a:lvl1pPr>
              <a:defRPr sz="2600" b="1" i="0" u="sng">
                <a:latin typeface="Helvetica" pitchFamily="2" charset="0"/>
              </a:defRPr>
            </a:lvl1pPr>
            <a:lvl2pPr>
              <a:defRPr sz="2600" b="1" i="0">
                <a:latin typeface="Helvetica" pitchFamily="2" charset="0"/>
              </a:defRPr>
            </a:lvl2pPr>
            <a:lvl3pPr>
              <a:defRPr sz="2600" b="1" i="0">
                <a:latin typeface="Helvetica" pitchFamily="2" charset="0"/>
              </a:defRPr>
            </a:lvl3pPr>
            <a:lvl4pPr>
              <a:defRPr sz="2600" b="1" i="0">
                <a:latin typeface="Helvetica" pitchFamily="2" charset="0"/>
              </a:defRPr>
            </a:lvl4pPr>
            <a:lvl5pPr>
              <a:defRPr sz="2600" b="1" i="0">
                <a:latin typeface="Helvetica" pitchFamily="2" charset="0"/>
              </a:defRPr>
            </a:lvl5pPr>
          </a:lstStyle>
          <a:p>
            <a:pPr lvl="0"/>
            <a:endParaRPr lang="it-IT" dirty="0"/>
          </a:p>
        </p:txBody>
      </p:sp>
      <p:sp>
        <p:nvSpPr>
          <p:cNvPr id="30" name="Segnaposto testo 43"/>
          <p:cNvSpPr>
            <a:spLocks noGrp="1"/>
          </p:cNvSpPr>
          <p:nvPr>
            <p:ph type="body" sz="quarter" idx="25"/>
          </p:nvPr>
        </p:nvSpPr>
        <p:spPr>
          <a:xfrm>
            <a:off x="2857408" y="3120965"/>
            <a:ext cx="5930145" cy="400110"/>
          </a:xfrm>
        </p:spPr>
        <p:txBody>
          <a:bodyPr/>
          <a:lstStyle>
            <a:lvl1pPr>
              <a:defRPr sz="2600" b="1" i="0" u="sng">
                <a:latin typeface="Helvetica" pitchFamily="2" charset="0"/>
              </a:defRPr>
            </a:lvl1pPr>
            <a:lvl2pPr>
              <a:defRPr sz="2600" b="1" i="0">
                <a:latin typeface="Helvetica" pitchFamily="2" charset="0"/>
              </a:defRPr>
            </a:lvl2pPr>
            <a:lvl3pPr>
              <a:defRPr sz="2600" b="1" i="0">
                <a:latin typeface="Helvetica" pitchFamily="2" charset="0"/>
              </a:defRPr>
            </a:lvl3pPr>
            <a:lvl4pPr>
              <a:defRPr sz="2600" b="1" i="0">
                <a:latin typeface="Helvetica" pitchFamily="2" charset="0"/>
              </a:defRPr>
            </a:lvl4pPr>
            <a:lvl5pPr>
              <a:defRPr sz="2600" b="1" i="0">
                <a:latin typeface="Helvetica" pitchFamily="2" charset="0"/>
              </a:defRPr>
            </a:lvl5pPr>
          </a:lstStyle>
          <a:p>
            <a:pPr lvl="0"/>
            <a:endParaRPr lang="it-IT" dirty="0"/>
          </a:p>
        </p:txBody>
      </p:sp>
      <p:sp>
        <p:nvSpPr>
          <p:cNvPr id="35" name="Segnaposto testo 34"/>
          <p:cNvSpPr>
            <a:spLocks noGrp="1"/>
          </p:cNvSpPr>
          <p:nvPr>
            <p:ph type="body" sz="quarter" idx="26"/>
          </p:nvPr>
        </p:nvSpPr>
        <p:spPr>
          <a:xfrm>
            <a:off x="2857409" y="5920178"/>
            <a:ext cx="2470150" cy="200055"/>
          </a:xfrm>
        </p:spPr>
        <p:txBody>
          <a:bodyPr/>
          <a:lstStyle>
            <a:lvl1pPr>
              <a:defRPr sz="1300" b="1" i="0">
                <a:latin typeface="Helvetica" pitchFamily="2" charset="0"/>
              </a:defRPr>
            </a:lvl1pPr>
            <a:lvl2pPr>
              <a:defRPr sz="1300" b="1" i="0">
                <a:latin typeface="Helvetica" pitchFamily="2" charset="0"/>
              </a:defRPr>
            </a:lvl2pPr>
            <a:lvl3pPr>
              <a:defRPr sz="1300" b="1" i="0">
                <a:latin typeface="Helvetica" pitchFamily="2" charset="0"/>
              </a:defRPr>
            </a:lvl3pPr>
            <a:lvl4pPr>
              <a:defRPr sz="1300" b="1" i="0">
                <a:latin typeface="Helvetica" pitchFamily="2" charset="0"/>
              </a:defRPr>
            </a:lvl4pPr>
            <a:lvl5pPr>
              <a:defRPr sz="1300" b="1" i="0">
                <a:latin typeface="Helvetica" pitchFamily="2" charset="0"/>
              </a:defRPr>
            </a:lvl5pPr>
          </a:lstStyle>
          <a:p>
            <a:pPr lvl="0"/>
            <a:endParaRPr lang="it-IT" dirty="0"/>
          </a:p>
        </p:txBody>
      </p:sp>
      <p:sp>
        <p:nvSpPr>
          <p:cNvPr id="36" name="Holder 4"/>
          <p:cNvSpPr>
            <a:spLocks noGrp="1"/>
          </p:cNvSpPr>
          <p:nvPr>
            <p:ph sz="half" idx="27"/>
          </p:nvPr>
        </p:nvSpPr>
        <p:spPr>
          <a:xfrm>
            <a:off x="5493055" y="3867170"/>
            <a:ext cx="2458085" cy="1939763"/>
          </a:xfrm>
          <a:prstGeom prst="rect">
            <a:avLst/>
          </a:prstGeom>
          <a:solidFill>
            <a:srgbClr val="E5E5E5"/>
          </a:solidFill>
        </p:spPr>
        <p:txBody>
          <a:bodyPr/>
          <a:lstStyle>
            <a:lvl1pPr>
              <a:defRPr/>
            </a:lvl1pPr>
          </a:lstStyle>
          <a:p>
            <a:endParaRPr dirty="0"/>
          </a:p>
        </p:txBody>
      </p:sp>
      <p:sp>
        <p:nvSpPr>
          <p:cNvPr id="37" name="Segnaposto testo 34"/>
          <p:cNvSpPr>
            <a:spLocks noGrp="1"/>
          </p:cNvSpPr>
          <p:nvPr>
            <p:ph type="body" sz="quarter" idx="28"/>
          </p:nvPr>
        </p:nvSpPr>
        <p:spPr>
          <a:xfrm>
            <a:off x="5480687" y="5920178"/>
            <a:ext cx="2470150" cy="200055"/>
          </a:xfrm>
        </p:spPr>
        <p:txBody>
          <a:bodyPr/>
          <a:lstStyle>
            <a:lvl1pPr>
              <a:defRPr sz="1300" b="1" i="0">
                <a:latin typeface="Helvetica" pitchFamily="2" charset="0"/>
              </a:defRPr>
            </a:lvl1pPr>
            <a:lvl2pPr>
              <a:defRPr sz="1300" b="1" i="0">
                <a:latin typeface="Helvetica" pitchFamily="2" charset="0"/>
              </a:defRPr>
            </a:lvl2pPr>
            <a:lvl3pPr>
              <a:defRPr sz="1300" b="1" i="0">
                <a:latin typeface="Helvetica" pitchFamily="2" charset="0"/>
              </a:defRPr>
            </a:lvl3pPr>
            <a:lvl4pPr>
              <a:defRPr sz="1300" b="1" i="0">
                <a:latin typeface="Helvetica" pitchFamily="2" charset="0"/>
              </a:defRPr>
            </a:lvl4pPr>
            <a:lvl5pPr>
              <a:defRPr sz="1300" b="1" i="0">
                <a:latin typeface="Helvetica" pitchFamily="2" charset="0"/>
              </a:defRPr>
            </a:lvl5pPr>
          </a:lstStyle>
          <a:p>
            <a:pPr lvl="0"/>
            <a:endParaRPr lang="it-IT" dirty="0"/>
          </a:p>
        </p:txBody>
      </p:sp>
      <p:sp>
        <p:nvSpPr>
          <p:cNvPr id="38" name="Holder 4"/>
          <p:cNvSpPr>
            <a:spLocks noGrp="1"/>
          </p:cNvSpPr>
          <p:nvPr>
            <p:ph sz="half" idx="29"/>
          </p:nvPr>
        </p:nvSpPr>
        <p:spPr>
          <a:xfrm>
            <a:off x="8116334" y="3867170"/>
            <a:ext cx="2458085" cy="1939763"/>
          </a:xfrm>
          <a:prstGeom prst="rect">
            <a:avLst/>
          </a:prstGeom>
          <a:solidFill>
            <a:srgbClr val="E5E5E5"/>
          </a:solidFill>
        </p:spPr>
        <p:txBody>
          <a:bodyPr/>
          <a:lstStyle>
            <a:lvl1pPr>
              <a:defRPr/>
            </a:lvl1pPr>
          </a:lstStyle>
          <a:p>
            <a:endParaRPr dirty="0"/>
          </a:p>
        </p:txBody>
      </p:sp>
      <p:sp>
        <p:nvSpPr>
          <p:cNvPr id="39" name="Segnaposto testo 34"/>
          <p:cNvSpPr>
            <a:spLocks noGrp="1"/>
          </p:cNvSpPr>
          <p:nvPr>
            <p:ph type="body" sz="quarter" idx="30"/>
          </p:nvPr>
        </p:nvSpPr>
        <p:spPr>
          <a:xfrm>
            <a:off x="8103966" y="5920178"/>
            <a:ext cx="2470150" cy="200055"/>
          </a:xfrm>
        </p:spPr>
        <p:txBody>
          <a:bodyPr/>
          <a:lstStyle>
            <a:lvl1pPr>
              <a:defRPr sz="1300" b="1" i="0">
                <a:latin typeface="Helvetica" pitchFamily="2" charset="0"/>
              </a:defRPr>
            </a:lvl1pPr>
            <a:lvl2pPr>
              <a:defRPr sz="1300" b="1" i="0">
                <a:latin typeface="Helvetica" pitchFamily="2" charset="0"/>
              </a:defRPr>
            </a:lvl2pPr>
            <a:lvl3pPr>
              <a:defRPr sz="1300" b="1" i="0">
                <a:latin typeface="Helvetica" pitchFamily="2" charset="0"/>
              </a:defRPr>
            </a:lvl3pPr>
            <a:lvl4pPr>
              <a:defRPr sz="1300" b="1" i="0">
                <a:latin typeface="Helvetica" pitchFamily="2" charset="0"/>
              </a:defRPr>
            </a:lvl4pPr>
            <a:lvl5pPr>
              <a:defRPr sz="1300" b="1" i="0">
                <a:latin typeface="Helvetica" pitchFamily="2" charset="0"/>
              </a:defRPr>
            </a:lvl5pPr>
          </a:lstStyle>
          <a:p>
            <a:pPr lvl="0"/>
            <a:endParaRPr lang="it-IT" dirty="0"/>
          </a:p>
        </p:txBody>
      </p:sp>
      <p:sp>
        <p:nvSpPr>
          <p:cNvPr id="40" name="Holder 4"/>
          <p:cNvSpPr>
            <a:spLocks noGrp="1"/>
          </p:cNvSpPr>
          <p:nvPr>
            <p:ph sz="half" idx="31"/>
          </p:nvPr>
        </p:nvSpPr>
        <p:spPr>
          <a:xfrm>
            <a:off x="11938826" y="3867170"/>
            <a:ext cx="2458085" cy="1939763"/>
          </a:xfrm>
          <a:prstGeom prst="rect">
            <a:avLst/>
          </a:prstGeom>
          <a:solidFill>
            <a:srgbClr val="E5E5E5"/>
          </a:solidFill>
        </p:spPr>
        <p:txBody>
          <a:bodyPr/>
          <a:lstStyle>
            <a:lvl1pPr>
              <a:defRPr/>
            </a:lvl1pPr>
          </a:lstStyle>
          <a:p>
            <a:endParaRPr dirty="0"/>
          </a:p>
        </p:txBody>
      </p:sp>
      <p:sp>
        <p:nvSpPr>
          <p:cNvPr id="41" name="Segnaposto testo 34"/>
          <p:cNvSpPr>
            <a:spLocks noGrp="1"/>
          </p:cNvSpPr>
          <p:nvPr>
            <p:ph type="body" sz="quarter" idx="32"/>
          </p:nvPr>
        </p:nvSpPr>
        <p:spPr>
          <a:xfrm>
            <a:off x="11926458" y="5920178"/>
            <a:ext cx="2470150" cy="200055"/>
          </a:xfrm>
        </p:spPr>
        <p:txBody>
          <a:bodyPr/>
          <a:lstStyle>
            <a:lvl1pPr>
              <a:defRPr sz="1300" b="1" i="0">
                <a:latin typeface="Helvetica" pitchFamily="2" charset="0"/>
              </a:defRPr>
            </a:lvl1pPr>
            <a:lvl2pPr>
              <a:defRPr sz="1300" b="1" i="0">
                <a:latin typeface="Helvetica" pitchFamily="2" charset="0"/>
              </a:defRPr>
            </a:lvl2pPr>
            <a:lvl3pPr>
              <a:defRPr sz="1300" b="1" i="0">
                <a:latin typeface="Helvetica" pitchFamily="2" charset="0"/>
              </a:defRPr>
            </a:lvl3pPr>
            <a:lvl4pPr>
              <a:defRPr sz="1300" b="1" i="0">
                <a:latin typeface="Helvetica" pitchFamily="2" charset="0"/>
              </a:defRPr>
            </a:lvl4pPr>
            <a:lvl5pPr>
              <a:defRPr sz="1300" b="1" i="0">
                <a:latin typeface="Helvetica" pitchFamily="2" charset="0"/>
              </a:defRPr>
            </a:lvl5pPr>
          </a:lstStyle>
          <a:p>
            <a:pPr lvl="0"/>
            <a:endParaRPr lang="it-IT" dirty="0"/>
          </a:p>
        </p:txBody>
      </p:sp>
      <p:sp>
        <p:nvSpPr>
          <p:cNvPr id="42" name="Holder 4"/>
          <p:cNvSpPr>
            <a:spLocks noGrp="1"/>
          </p:cNvSpPr>
          <p:nvPr>
            <p:ph sz="half" idx="33"/>
          </p:nvPr>
        </p:nvSpPr>
        <p:spPr>
          <a:xfrm>
            <a:off x="14562105" y="3867170"/>
            <a:ext cx="2458085" cy="1939763"/>
          </a:xfrm>
          <a:prstGeom prst="rect">
            <a:avLst/>
          </a:prstGeom>
          <a:solidFill>
            <a:srgbClr val="E5E5E5"/>
          </a:solidFill>
        </p:spPr>
        <p:txBody>
          <a:bodyPr/>
          <a:lstStyle>
            <a:lvl1pPr>
              <a:defRPr/>
            </a:lvl1pPr>
          </a:lstStyle>
          <a:p>
            <a:endParaRPr dirty="0"/>
          </a:p>
        </p:txBody>
      </p:sp>
      <p:sp>
        <p:nvSpPr>
          <p:cNvPr id="43" name="Segnaposto testo 34"/>
          <p:cNvSpPr>
            <a:spLocks noGrp="1"/>
          </p:cNvSpPr>
          <p:nvPr>
            <p:ph type="body" sz="quarter" idx="34"/>
          </p:nvPr>
        </p:nvSpPr>
        <p:spPr>
          <a:xfrm>
            <a:off x="14549737" y="5920178"/>
            <a:ext cx="2470150" cy="200055"/>
          </a:xfrm>
        </p:spPr>
        <p:txBody>
          <a:bodyPr/>
          <a:lstStyle>
            <a:lvl1pPr>
              <a:defRPr sz="1300" b="1" i="0">
                <a:latin typeface="Helvetica" pitchFamily="2" charset="0"/>
              </a:defRPr>
            </a:lvl1pPr>
            <a:lvl2pPr>
              <a:defRPr sz="1300" b="1" i="0">
                <a:latin typeface="Helvetica" pitchFamily="2" charset="0"/>
              </a:defRPr>
            </a:lvl2pPr>
            <a:lvl3pPr>
              <a:defRPr sz="1300" b="1" i="0">
                <a:latin typeface="Helvetica" pitchFamily="2" charset="0"/>
              </a:defRPr>
            </a:lvl3pPr>
            <a:lvl4pPr>
              <a:defRPr sz="1300" b="1" i="0">
                <a:latin typeface="Helvetica" pitchFamily="2" charset="0"/>
              </a:defRPr>
            </a:lvl4pPr>
            <a:lvl5pPr>
              <a:defRPr sz="1300" b="1" i="0">
                <a:latin typeface="Helvetica" pitchFamily="2" charset="0"/>
              </a:defRPr>
            </a:lvl5pPr>
          </a:lstStyle>
          <a:p>
            <a:pPr lvl="0"/>
            <a:endParaRPr lang="it-IT" dirty="0"/>
          </a:p>
        </p:txBody>
      </p:sp>
      <p:sp>
        <p:nvSpPr>
          <p:cNvPr id="44" name="Holder 4"/>
          <p:cNvSpPr>
            <a:spLocks noGrp="1"/>
          </p:cNvSpPr>
          <p:nvPr>
            <p:ph sz="half" idx="35"/>
          </p:nvPr>
        </p:nvSpPr>
        <p:spPr>
          <a:xfrm>
            <a:off x="2869777" y="6205635"/>
            <a:ext cx="2458085" cy="1939763"/>
          </a:xfrm>
          <a:prstGeom prst="rect">
            <a:avLst/>
          </a:prstGeom>
          <a:solidFill>
            <a:srgbClr val="E5E5E5"/>
          </a:solidFill>
        </p:spPr>
        <p:txBody>
          <a:bodyPr/>
          <a:lstStyle>
            <a:lvl1pPr>
              <a:defRPr/>
            </a:lvl1pPr>
          </a:lstStyle>
          <a:p>
            <a:endParaRPr dirty="0"/>
          </a:p>
        </p:txBody>
      </p:sp>
      <p:sp>
        <p:nvSpPr>
          <p:cNvPr id="45" name="Segnaposto testo 34"/>
          <p:cNvSpPr>
            <a:spLocks noGrp="1"/>
          </p:cNvSpPr>
          <p:nvPr>
            <p:ph type="body" sz="quarter" idx="36"/>
          </p:nvPr>
        </p:nvSpPr>
        <p:spPr>
          <a:xfrm>
            <a:off x="2857409" y="8258643"/>
            <a:ext cx="2470150" cy="200055"/>
          </a:xfrm>
        </p:spPr>
        <p:txBody>
          <a:bodyPr/>
          <a:lstStyle>
            <a:lvl1pPr>
              <a:defRPr sz="1300" b="1" i="0">
                <a:latin typeface="Helvetica" pitchFamily="2" charset="0"/>
              </a:defRPr>
            </a:lvl1pPr>
            <a:lvl2pPr>
              <a:defRPr sz="1300" b="1" i="0">
                <a:latin typeface="Helvetica" pitchFamily="2" charset="0"/>
              </a:defRPr>
            </a:lvl2pPr>
            <a:lvl3pPr>
              <a:defRPr sz="1300" b="1" i="0">
                <a:latin typeface="Helvetica" pitchFamily="2" charset="0"/>
              </a:defRPr>
            </a:lvl3pPr>
            <a:lvl4pPr>
              <a:defRPr sz="1300" b="1" i="0">
                <a:latin typeface="Helvetica" pitchFamily="2" charset="0"/>
              </a:defRPr>
            </a:lvl4pPr>
            <a:lvl5pPr>
              <a:defRPr sz="1300" b="1" i="0">
                <a:latin typeface="Helvetica" pitchFamily="2" charset="0"/>
              </a:defRPr>
            </a:lvl5pPr>
          </a:lstStyle>
          <a:p>
            <a:pPr lvl="0"/>
            <a:endParaRPr lang="it-IT" dirty="0"/>
          </a:p>
        </p:txBody>
      </p:sp>
      <p:sp>
        <p:nvSpPr>
          <p:cNvPr id="46" name="Holder 4"/>
          <p:cNvSpPr>
            <a:spLocks noGrp="1"/>
          </p:cNvSpPr>
          <p:nvPr>
            <p:ph sz="half" idx="37"/>
          </p:nvPr>
        </p:nvSpPr>
        <p:spPr>
          <a:xfrm>
            <a:off x="5493055" y="6205635"/>
            <a:ext cx="2458085" cy="1939763"/>
          </a:xfrm>
          <a:prstGeom prst="rect">
            <a:avLst/>
          </a:prstGeom>
          <a:solidFill>
            <a:srgbClr val="E5E5E5"/>
          </a:solidFill>
        </p:spPr>
        <p:txBody>
          <a:bodyPr/>
          <a:lstStyle>
            <a:lvl1pPr>
              <a:defRPr/>
            </a:lvl1pPr>
          </a:lstStyle>
          <a:p>
            <a:endParaRPr dirty="0"/>
          </a:p>
        </p:txBody>
      </p:sp>
      <p:sp>
        <p:nvSpPr>
          <p:cNvPr id="47" name="Segnaposto testo 34"/>
          <p:cNvSpPr>
            <a:spLocks noGrp="1"/>
          </p:cNvSpPr>
          <p:nvPr>
            <p:ph type="body" sz="quarter" idx="38"/>
          </p:nvPr>
        </p:nvSpPr>
        <p:spPr>
          <a:xfrm>
            <a:off x="5480687" y="8258643"/>
            <a:ext cx="2470150" cy="200055"/>
          </a:xfrm>
        </p:spPr>
        <p:txBody>
          <a:bodyPr/>
          <a:lstStyle>
            <a:lvl1pPr>
              <a:defRPr sz="1300" b="1" i="0">
                <a:latin typeface="Helvetica" pitchFamily="2" charset="0"/>
              </a:defRPr>
            </a:lvl1pPr>
            <a:lvl2pPr>
              <a:defRPr sz="1300" b="1" i="0">
                <a:latin typeface="Helvetica" pitchFamily="2" charset="0"/>
              </a:defRPr>
            </a:lvl2pPr>
            <a:lvl3pPr>
              <a:defRPr sz="1300" b="1" i="0">
                <a:latin typeface="Helvetica" pitchFamily="2" charset="0"/>
              </a:defRPr>
            </a:lvl3pPr>
            <a:lvl4pPr>
              <a:defRPr sz="1300" b="1" i="0">
                <a:latin typeface="Helvetica" pitchFamily="2" charset="0"/>
              </a:defRPr>
            </a:lvl4pPr>
            <a:lvl5pPr>
              <a:defRPr sz="1300" b="1" i="0">
                <a:latin typeface="Helvetica" pitchFamily="2" charset="0"/>
              </a:defRPr>
            </a:lvl5pPr>
          </a:lstStyle>
          <a:p>
            <a:pPr lvl="0"/>
            <a:endParaRPr lang="it-IT" dirty="0"/>
          </a:p>
        </p:txBody>
      </p:sp>
      <p:sp>
        <p:nvSpPr>
          <p:cNvPr id="48" name="Holder 4"/>
          <p:cNvSpPr>
            <a:spLocks noGrp="1"/>
          </p:cNvSpPr>
          <p:nvPr>
            <p:ph sz="half" idx="39"/>
          </p:nvPr>
        </p:nvSpPr>
        <p:spPr>
          <a:xfrm>
            <a:off x="8116334" y="6205635"/>
            <a:ext cx="2458085" cy="1939763"/>
          </a:xfrm>
          <a:prstGeom prst="rect">
            <a:avLst/>
          </a:prstGeom>
          <a:solidFill>
            <a:srgbClr val="E5E5E5"/>
          </a:solidFill>
        </p:spPr>
        <p:txBody>
          <a:bodyPr/>
          <a:lstStyle>
            <a:lvl1pPr>
              <a:defRPr/>
            </a:lvl1pPr>
          </a:lstStyle>
          <a:p>
            <a:endParaRPr dirty="0"/>
          </a:p>
        </p:txBody>
      </p:sp>
      <p:sp>
        <p:nvSpPr>
          <p:cNvPr id="49" name="Segnaposto testo 34"/>
          <p:cNvSpPr>
            <a:spLocks noGrp="1"/>
          </p:cNvSpPr>
          <p:nvPr>
            <p:ph type="body" sz="quarter" idx="40"/>
          </p:nvPr>
        </p:nvSpPr>
        <p:spPr>
          <a:xfrm>
            <a:off x="8103966" y="8258643"/>
            <a:ext cx="2470150" cy="200055"/>
          </a:xfrm>
        </p:spPr>
        <p:txBody>
          <a:bodyPr/>
          <a:lstStyle>
            <a:lvl1pPr>
              <a:defRPr sz="1300" b="1" i="0">
                <a:latin typeface="Helvetica" pitchFamily="2" charset="0"/>
              </a:defRPr>
            </a:lvl1pPr>
            <a:lvl2pPr>
              <a:defRPr sz="1300" b="1" i="0">
                <a:latin typeface="Helvetica" pitchFamily="2" charset="0"/>
              </a:defRPr>
            </a:lvl2pPr>
            <a:lvl3pPr>
              <a:defRPr sz="1300" b="1" i="0">
                <a:latin typeface="Helvetica" pitchFamily="2" charset="0"/>
              </a:defRPr>
            </a:lvl3pPr>
            <a:lvl4pPr>
              <a:defRPr sz="1300" b="1" i="0">
                <a:latin typeface="Helvetica" pitchFamily="2" charset="0"/>
              </a:defRPr>
            </a:lvl4pPr>
            <a:lvl5pPr>
              <a:defRPr sz="1300" b="1" i="0">
                <a:latin typeface="Helvetica" pitchFamily="2" charset="0"/>
              </a:defRPr>
            </a:lvl5pPr>
          </a:lstStyle>
          <a:p>
            <a:pPr lvl="0"/>
            <a:endParaRPr lang="it-IT" dirty="0"/>
          </a:p>
        </p:txBody>
      </p:sp>
      <p:sp>
        <p:nvSpPr>
          <p:cNvPr id="50" name="Holder 4"/>
          <p:cNvSpPr>
            <a:spLocks noGrp="1"/>
          </p:cNvSpPr>
          <p:nvPr>
            <p:ph sz="half" idx="41"/>
          </p:nvPr>
        </p:nvSpPr>
        <p:spPr>
          <a:xfrm>
            <a:off x="11938826" y="6205635"/>
            <a:ext cx="2458085" cy="1939763"/>
          </a:xfrm>
          <a:prstGeom prst="rect">
            <a:avLst/>
          </a:prstGeom>
          <a:solidFill>
            <a:srgbClr val="E5E5E5"/>
          </a:solidFill>
        </p:spPr>
        <p:txBody>
          <a:bodyPr/>
          <a:lstStyle>
            <a:lvl1pPr>
              <a:defRPr/>
            </a:lvl1pPr>
          </a:lstStyle>
          <a:p>
            <a:endParaRPr dirty="0"/>
          </a:p>
        </p:txBody>
      </p:sp>
      <p:sp>
        <p:nvSpPr>
          <p:cNvPr id="51" name="Segnaposto testo 34"/>
          <p:cNvSpPr>
            <a:spLocks noGrp="1"/>
          </p:cNvSpPr>
          <p:nvPr>
            <p:ph type="body" sz="quarter" idx="42"/>
          </p:nvPr>
        </p:nvSpPr>
        <p:spPr>
          <a:xfrm>
            <a:off x="11926458" y="8258643"/>
            <a:ext cx="2470150" cy="200055"/>
          </a:xfrm>
        </p:spPr>
        <p:txBody>
          <a:bodyPr/>
          <a:lstStyle>
            <a:lvl1pPr>
              <a:defRPr sz="1300" b="1" i="0">
                <a:latin typeface="Helvetica" pitchFamily="2" charset="0"/>
              </a:defRPr>
            </a:lvl1pPr>
            <a:lvl2pPr>
              <a:defRPr sz="1300" b="1" i="0">
                <a:latin typeface="Helvetica" pitchFamily="2" charset="0"/>
              </a:defRPr>
            </a:lvl2pPr>
            <a:lvl3pPr>
              <a:defRPr sz="1300" b="1" i="0">
                <a:latin typeface="Helvetica" pitchFamily="2" charset="0"/>
              </a:defRPr>
            </a:lvl3pPr>
            <a:lvl4pPr>
              <a:defRPr sz="1300" b="1" i="0">
                <a:latin typeface="Helvetica" pitchFamily="2" charset="0"/>
              </a:defRPr>
            </a:lvl4pPr>
            <a:lvl5pPr>
              <a:defRPr sz="1300" b="1" i="0">
                <a:latin typeface="Helvetica" pitchFamily="2" charset="0"/>
              </a:defRPr>
            </a:lvl5pPr>
          </a:lstStyle>
          <a:p>
            <a:pPr lvl="0"/>
            <a:endParaRPr lang="it-IT" dirty="0"/>
          </a:p>
        </p:txBody>
      </p:sp>
      <p:sp>
        <p:nvSpPr>
          <p:cNvPr id="52" name="Holder 4"/>
          <p:cNvSpPr>
            <a:spLocks noGrp="1"/>
          </p:cNvSpPr>
          <p:nvPr>
            <p:ph sz="half" idx="43"/>
          </p:nvPr>
        </p:nvSpPr>
        <p:spPr>
          <a:xfrm>
            <a:off x="14562105" y="6205635"/>
            <a:ext cx="2458085" cy="1939763"/>
          </a:xfrm>
          <a:prstGeom prst="rect">
            <a:avLst/>
          </a:prstGeom>
          <a:solidFill>
            <a:srgbClr val="E5E5E5"/>
          </a:solidFill>
        </p:spPr>
        <p:txBody>
          <a:bodyPr/>
          <a:lstStyle>
            <a:lvl1pPr>
              <a:defRPr/>
            </a:lvl1pPr>
          </a:lstStyle>
          <a:p>
            <a:endParaRPr dirty="0"/>
          </a:p>
        </p:txBody>
      </p:sp>
      <p:sp>
        <p:nvSpPr>
          <p:cNvPr id="53" name="Segnaposto testo 34"/>
          <p:cNvSpPr>
            <a:spLocks noGrp="1"/>
          </p:cNvSpPr>
          <p:nvPr>
            <p:ph type="body" sz="quarter" idx="44"/>
          </p:nvPr>
        </p:nvSpPr>
        <p:spPr>
          <a:xfrm>
            <a:off x="14549737" y="8258643"/>
            <a:ext cx="2470150" cy="200055"/>
          </a:xfrm>
        </p:spPr>
        <p:txBody>
          <a:bodyPr/>
          <a:lstStyle>
            <a:lvl1pPr>
              <a:defRPr sz="1300" b="1" i="0">
                <a:latin typeface="Helvetica" pitchFamily="2" charset="0"/>
              </a:defRPr>
            </a:lvl1pPr>
            <a:lvl2pPr>
              <a:defRPr sz="1300" b="1" i="0">
                <a:latin typeface="Helvetica" pitchFamily="2" charset="0"/>
              </a:defRPr>
            </a:lvl2pPr>
            <a:lvl3pPr>
              <a:defRPr sz="1300" b="1" i="0">
                <a:latin typeface="Helvetica" pitchFamily="2" charset="0"/>
              </a:defRPr>
            </a:lvl3pPr>
            <a:lvl4pPr>
              <a:defRPr sz="1300" b="1" i="0">
                <a:latin typeface="Helvetica" pitchFamily="2" charset="0"/>
              </a:defRPr>
            </a:lvl4pPr>
            <a:lvl5pPr>
              <a:defRPr sz="1300" b="1" i="0">
                <a:latin typeface="Helvetica" pitchFamily="2" charset="0"/>
              </a:defRPr>
            </a:lvl5pPr>
          </a:lstStyle>
          <a:p>
            <a:pPr lvl="0"/>
            <a:endParaRPr lang="it-IT" dirty="0"/>
          </a:p>
        </p:txBody>
      </p:sp>
      <p:sp>
        <p:nvSpPr>
          <p:cNvPr id="54" name="Holder 4"/>
          <p:cNvSpPr>
            <a:spLocks noGrp="1"/>
          </p:cNvSpPr>
          <p:nvPr>
            <p:ph sz="half" idx="45"/>
          </p:nvPr>
        </p:nvSpPr>
        <p:spPr>
          <a:xfrm>
            <a:off x="2869777" y="8550275"/>
            <a:ext cx="2458085" cy="1939763"/>
          </a:xfrm>
          <a:prstGeom prst="rect">
            <a:avLst/>
          </a:prstGeom>
          <a:solidFill>
            <a:srgbClr val="E5E5E5"/>
          </a:solidFill>
        </p:spPr>
        <p:txBody>
          <a:bodyPr/>
          <a:lstStyle>
            <a:lvl1pPr>
              <a:defRPr/>
            </a:lvl1pPr>
          </a:lstStyle>
          <a:p>
            <a:endParaRPr dirty="0"/>
          </a:p>
        </p:txBody>
      </p:sp>
      <p:sp>
        <p:nvSpPr>
          <p:cNvPr id="55" name="Segnaposto testo 34"/>
          <p:cNvSpPr>
            <a:spLocks noGrp="1"/>
          </p:cNvSpPr>
          <p:nvPr>
            <p:ph type="body" sz="quarter" idx="46"/>
          </p:nvPr>
        </p:nvSpPr>
        <p:spPr>
          <a:xfrm>
            <a:off x="2857409" y="10603283"/>
            <a:ext cx="2470150" cy="200055"/>
          </a:xfrm>
        </p:spPr>
        <p:txBody>
          <a:bodyPr/>
          <a:lstStyle>
            <a:lvl1pPr>
              <a:defRPr sz="1300" b="1" i="0">
                <a:latin typeface="Helvetica" pitchFamily="2" charset="0"/>
              </a:defRPr>
            </a:lvl1pPr>
            <a:lvl2pPr>
              <a:defRPr sz="1300" b="1" i="0">
                <a:latin typeface="Helvetica" pitchFamily="2" charset="0"/>
              </a:defRPr>
            </a:lvl2pPr>
            <a:lvl3pPr>
              <a:defRPr sz="1300" b="1" i="0">
                <a:latin typeface="Helvetica" pitchFamily="2" charset="0"/>
              </a:defRPr>
            </a:lvl3pPr>
            <a:lvl4pPr>
              <a:defRPr sz="1300" b="1" i="0">
                <a:latin typeface="Helvetica" pitchFamily="2" charset="0"/>
              </a:defRPr>
            </a:lvl4pPr>
            <a:lvl5pPr>
              <a:defRPr sz="1300" b="1" i="0">
                <a:latin typeface="Helvetica" pitchFamily="2" charset="0"/>
              </a:defRPr>
            </a:lvl5pPr>
          </a:lstStyle>
          <a:p>
            <a:pPr lvl="0"/>
            <a:endParaRPr lang="it-IT" dirty="0"/>
          </a:p>
        </p:txBody>
      </p:sp>
      <p:sp>
        <p:nvSpPr>
          <p:cNvPr id="56" name="Holder 4"/>
          <p:cNvSpPr>
            <a:spLocks noGrp="1"/>
          </p:cNvSpPr>
          <p:nvPr>
            <p:ph sz="half" idx="47"/>
          </p:nvPr>
        </p:nvSpPr>
        <p:spPr>
          <a:xfrm>
            <a:off x="5493055" y="8550275"/>
            <a:ext cx="2458085" cy="1939763"/>
          </a:xfrm>
          <a:prstGeom prst="rect">
            <a:avLst/>
          </a:prstGeom>
          <a:solidFill>
            <a:srgbClr val="E5E5E5"/>
          </a:solidFill>
        </p:spPr>
        <p:txBody>
          <a:bodyPr/>
          <a:lstStyle>
            <a:lvl1pPr>
              <a:defRPr/>
            </a:lvl1pPr>
          </a:lstStyle>
          <a:p>
            <a:endParaRPr dirty="0"/>
          </a:p>
        </p:txBody>
      </p:sp>
      <p:sp>
        <p:nvSpPr>
          <p:cNvPr id="57" name="Segnaposto testo 34"/>
          <p:cNvSpPr>
            <a:spLocks noGrp="1"/>
          </p:cNvSpPr>
          <p:nvPr>
            <p:ph type="body" sz="quarter" idx="48"/>
          </p:nvPr>
        </p:nvSpPr>
        <p:spPr>
          <a:xfrm>
            <a:off x="5480687" y="10603283"/>
            <a:ext cx="2470150" cy="200055"/>
          </a:xfrm>
        </p:spPr>
        <p:txBody>
          <a:bodyPr/>
          <a:lstStyle>
            <a:lvl1pPr>
              <a:defRPr sz="1300" b="1" i="0">
                <a:latin typeface="Helvetica" pitchFamily="2" charset="0"/>
              </a:defRPr>
            </a:lvl1pPr>
            <a:lvl2pPr>
              <a:defRPr sz="1300" b="1" i="0">
                <a:latin typeface="Helvetica" pitchFamily="2" charset="0"/>
              </a:defRPr>
            </a:lvl2pPr>
            <a:lvl3pPr>
              <a:defRPr sz="1300" b="1" i="0">
                <a:latin typeface="Helvetica" pitchFamily="2" charset="0"/>
              </a:defRPr>
            </a:lvl3pPr>
            <a:lvl4pPr>
              <a:defRPr sz="1300" b="1" i="0">
                <a:latin typeface="Helvetica" pitchFamily="2" charset="0"/>
              </a:defRPr>
            </a:lvl4pPr>
            <a:lvl5pPr>
              <a:defRPr sz="1300" b="1" i="0">
                <a:latin typeface="Helvetica" pitchFamily="2" charset="0"/>
              </a:defRPr>
            </a:lvl5pPr>
          </a:lstStyle>
          <a:p>
            <a:pPr lvl="0"/>
            <a:endParaRPr lang="it-IT" dirty="0"/>
          </a:p>
        </p:txBody>
      </p:sp>
      <p:sp>
        <p:nvSpPr>
          <p:cNvPr id="60" name="Holder 4"/>
          <p:cNvSpPr>
            <a:spLocks noGrp="1"/>
          </p:cNvSpPr>
          <p:nvPr>
            <p:ph sz="half" idx="51"/>
          </p:nvPr>
        </p:nvSpPr>
        <p:spPr>
          <a:xfrm>
            <a:off x="11938826" y="8550275"/>
            <a:ext cx="2458085" cy="1939763"/>
          </a:xfrm>
          <a:prstGeom prst="rect">
            <a:avLst/>
          </a:prstGeom>
          <a:solidFill>
            <a:srgbClr val="E5E5E5"/>
          </a:solidFill>
        </p:spPr>
        <p:txBody>
          <a:bodyPr/>
          <a:lstStyle>
            <a:lvl1pPr>
              <a:defRPr/>
            </a:lvl1pPr>
          </a:lstStyle>
          <a:p>
            <a:endParaRPr dirty="0"/>
          </a:p>
        </p:txBody>
      </p:sp>
      <p:sp>
        <p:nvSpPr>
          <p:cNvPr id="61" name="Segnaposto testo 34"/>
          <p:cNvSpPr>
            <a:spLocks noGrp="1"/>
          </p:cNvSpPr>
          <p:nvPr>
            <p:ph type="body" sz="quarter" idx="52"/>
          </p:nvPr>
        </p:nvSpPr>
        <p:spPr>
          <a:xfrm>
            <a:off x="11926458" y="10603283"/>
            <a:ext cx="2470150" cy="200055"/>
          </a:xfrm>
        </p:spPr>
        <p:txBody>
          <a:bodyPr/>
          <a:lstStyle>
            <a:lvl1pPr>
              <a:defRPr sz="1300" b="1" i="0">
                <a:latin typeface="Helvetica" pitchFamily="2" charset="0"/>
              </a:defRPr>
            </a:lvl1pPr>
            <a:lvl2pPr>
              <a:defRPr sz="1300" b="1" i="0">
                <a:latin typeface="Helvetica" pitchFamily="2" charset="0"/>
              </a:defRPr>
            </a:lvl2pPr>
            <a:lvl3pPr>
              <a:defRPr sz="1300" b="1" i="0">
                <a:latin typeface="Helvetica" pitchFamily="2" charset="0"/>
              </a:defRPr>
            </a:lvl3pPr>
            <a:lvl4pPr>
              <a:defRPr sz="1300" b="1" i="0">
                <a:latin typeface="Helvetica" pitchFamily="2" charset="0"/>
              </a:defRPr>
            </a:lvl4pPr>
            <a:lvl5pPr>
              <a:defRPr sz="1300" b="1" i="0">
                <a:latin typeface="Helvetica" pitchFamily="2" charset="0"/>
              </a:defRPr>
            </a:lvl5pPr>
          </a:lstStyle>
          <a:p>
            <a:pPr lvl="0"/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66937485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egnaposto testo 4"/>
          <p:cNvSpPr>
            <a:spLocks noGrp="1"/>
          </p:cNvSpPr>
          <p:nvPr>
            <p:ph type="body" sz="quarter" idx="11"/>
          </p:nvPr>
        </p:nvSpPr>
        <p:spPr>
          <a:xfrm>
            <a:off x="679451" y="583899"/>
            <a:ext cx="1676400" cy="400110"/>
          </a:xfrm>
        </p:spPr>
        <p:txBody>
          <a:bodyPr anchor="ctr"/>
          <a:lstStyle>
            <a:lvl1pPr>
              <a:defRPr sz="2600" b="1" i="0" spc="300">
                <a:solidFill>
                  <a:schemeClr val="bg1"/>
                </a:solidFill>
                <a:latin typeface="Helvetica" pitchFamily="2" charset="0"/>
              </a:defRPr>
            </a:lvl1pPr>
          </a:lstStyle>
          <a:p>
            <a:pPr lvl="0"/>
            <a:r>
              <a:rPr lang="sl-SI"/>
              <a:t>Kliknite za urejanje slogov besedila matrice</a:t>
            </a:r>
          </a:p>
        </p:txBody>
      </p:sp>
      <p:sp>
        <p:nvSpPr>
          <p:cNvPr id="7" name="Segnaposto testo 4"/>
          <p:cNvSpPr>
            <a:spLocks noGrp="1"/>
          </p:cNvSpPr>
          <p:nvPr>
            <p:ph type="body" sz="quarter" idx="13"/>
          </p:nvPr>
        </p:nvSpPr>
        <p:spPr>
          <a:xfrm>
            <a:off x="2436813" y="549275"/>
            <a:ext cx="8986837" cy="469359"/>
          </a:xfrm>
        </p:spPr>
        <p:txBody>
          <a:bodyPr anchor="ctr"/>
          <a:lstStyle>
            <a:lvl1pPr>
              <a:defRPr sz="3050" b="0" i="0" spc="0">
                <a:solidFill>
                  <a:schemeClr val="bg1"/>
                </a:solidFill>
                <a:latin typeface="Helvetica Light" panose="020B0403020202020204" pitchFamily="34" charset="0"/>
              </a:defRPr>
            </a:lvl1pPr>
          </a:lstStyle>
          <a:p>
            <a:pPr lvl="0"/>
            <a:r>
              <a:rPr lang="sl-SI"/>
              <a:t>Kliknite za urejanje slogov besedila matrice</a:t>
            </a:r>
          </a:p>
        </p:txBody>
      </p:sp>
    </p:spTree>
    <p:extLst>
      <p:ext uri="{BB962C8B-B14F-4D97-AF65-F5344CB8AC3E}">
        <p14:creationId xmlns:p14="http://schemas.microsoft.com/office/powerpoint/2010/main" val="406022352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1365250" y="2530475"/>
            <a:ext cx="17088486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400" b="1" i="0">
                <a:latin typeface="Helvetica" pitchFamily="2" charset="0"/>
              </a:defRPr>
            </a:lvl1pPr>
          </a:lstStyle>
          <a:p>
            <a:endParaRPr dirty="0"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365250" y="3292475"/>
            <a:ext cx="17117117" cy="276999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96843529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ctrTitle"/>
          </p:nvPr>
        </p:nvSpPr>
        <p:spPr>
          <a:xfrm>
            <a:off x="2513013" y="1851025"/>
            <a:ext cx="15078075" cy="3937000"/>
          </a:xfrm>
          <a:prstGeom prst="rect">
            <a:avLst/>
          </a:prstGeom>
        </p:spPr>
        <p:txBody>
          <a:bodyPr anchor="b"/>
          <a:lstStyle>
            <a:lvl1pPr algn="ctr">
              <a:defRPr sz="6000" b="1" i="0" spc="300">
                <a:latin typeface="Helvetica" pitchFamily="2" charset="0"/>
              </a:defRPr>
            </a:lvl1pPr>
          </a:lstStyle>
          <a:p>
            <a:r>
              <a:rPr lang="sl-SI"/>
              <a:t>Kliknite, če želite urediti slog naslova matrice</a:t>
            </a:r>
            <a:endParaRPr lang="it-IT" dirty="0"/>
          </a:p>
        </p:txBody>
      </p:sp>
      <p:sp>
        <p:nvSpPr>
          <p:cNvPr id="3" name="Sottotitolo 2"/>
          <p:cNvSpPr>
            <a:spLocks noGrp="1"/>
          </p:cNvSpPr>
          <p:nvPr>
            <p:ph type="subTitle" idx="1"/>
          </p:nvPr>
        </p:nvSpPr>
        <p:spPr>
          <a:xfrm>
            <a:off x="2513013" y="5940425"/>
            <a:ext cx="15078075" cy="334194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 b="1" i="0" spc="300">
                <a:latin typeface="Helvetica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l-SI"/>
              <a:t>Kliknite, če želite urediti slog podnaslova matrice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407909558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0" y="1539875"/>
            <a:ext cx="20104100" cy="746417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82601762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2786645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egnaposto testo 4"/>
          <p:cNvSpPr>
            <a:spLocks noGrp="1"/>
          </p:cNvSpPr>
          <p:nvPr>
            <p:ph type="body" sz="quarter" idx="11"/>
          </p:nvPr>
        </p:nvSpPr>
        <p:spPr>
          <a:xfrm>
            <a:off x="679452" y="583900"/>
            <a:ext cx="1676400" cy="400110"/>
          </a:xfrm>
        </p:spPr>
        <p:txBody>
          <a:bodyPr anchor="ctr"/>
          <a:lstStyle>
            <a:lvl1pPr>
              <a:defRPr sz="2600" b="1" i="0" spc="300">
                <a:solidFill>
                  <a:schemeClr val="bg1"/>
                </a:solidFill>
                <a:latin typeface="Helvetica" pitchFamily="2" charset="0"/>
              </a:defRPr>
            </a:lvl1pPr>
          </a:lstStyle>
          <a:p>
            <a:pPr lvl="0"/>
            <a:r>
              <a:rPr lang="sl-SI"/>
              <a:t>Kliknite za urejanje slogov besedila matrice</a:t>
            </a:r>
          </a:p>
        </p:txBody>
      </p:sp>
      <p:sp>
        <p:nvSpPr>
          <p:cNvPr id="7" name="Segnaposto testo 4"/>
          <p:cNvSpPr>
            <a:spLocks noGrp="1"/>
          </p:cNvSpPr>
          <p:nvPr>
            <p:ph type="body" sz="quarter" idx="13"/>
          </p:nvPr>
        </p:nvSpPr>
        <p:spPr>
          <a:xfrm>
            <a:off x="2436813" y="549275"/>
            <a:ext cx="8986838" cy="469359"/>
          </a:xfrm>
        </p:spPr>
        <p:txBody>
          <a:bodyPr anchor="ctr"/>
          <a:lstStyle>
            <a:lvl1pPr>
              <a:defRPr sz="3051" b="0" i="0" spc="0">
                <a:solidFill>
                  <a:schemeClr val="bg1"/>
                </a:solidFill>
                <a:latin typeface="Helvetica Light" panose="020B0403020202020204" pitchFamily="34" charset="0"/>
              </a:defRPr>
            </a:lvl1pPr>
          </a:lstStyle>
          <a:p>
            <a:pPr lvl="0"/>
            <a:r>
              <a:rPr lang="sl-SI"/>
              <a:t>Kliknite za urejanje slogov besedila matrice</a:t>
            </a:r>
          </a:p>
        </p:txBody>
      </p:sp>
    </p:spTree>
    <p:extLst>
      <p:ext uri="{BB962C8B-B14F-4D97-AF65-F5344CB8AC3E}">
        <p14:creationId xmlns:p14="http://schemas.microsoft.com/office/powerpoint/2010/main" val="386281894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egnaposto testo 4"/>
          <p:cNvSpPr>
            <a:spLocks noGrp="1"/>
          </p:cNvSpPr>
          <p:nvPr>
            <p:ph type="body" sz="quarter" idx="11"/>
          </p:nvPr>
        </p:nvSpPr>
        <p:spPr>
          <a:xfrm>
            <a:off x="679452" y="-416710"/>
            <a:ext cx="1676400" cy="2401329"/>
          </a:xfrm>
        </p:spPr>
        <p:txBody>
          <a:bodyPr anchor="ctr"/>
          <a:lstStyle>
            <a:lvl1pPr>
              <a:defRPr sz="2600" b="1" i="0" spc="300">
                <a:solidFill>
                  <a:schemeClr val="bg1"/>
                </a:solidFill>
                <a:latin typeface="Helvetica" pitchFamily="2" charset="0"/>
              </a:defRPr>
            </a:lvl1pPr>
          </a:lstStyle>
          <a:p>
            <a:pPr lvl="0"/>
            <a:r>
              <a:rPr lang="sl-SI"/>
              <a:t>Kliknite za urejanje slogov besedila matrice</a:t>
            </a:r>
          </a:p>
        </p:txBody>
      </p:sp>
      <p:sp>
        <p:nvSpPr>
          <p:cNvPr id="7" name="Segnaposto testo 4"/>
          <p:cNvSpPr>
            <a:spLocks noGrp="1"/>
          </p:cNvSpPr>
          <p:nvPr>
            <p:ph type="body" sz="quarter" idx="13"/>
          </p:nvPr>
        </p:nvSpPr>
        <p:spPr>
          <a:xfrm>
            <a:off x="2436813" y="549275"/>
            <a:ext cx="8986838" cy="469359"/>
          </a:xfrm>
        </p:spPr>
        <p:txBody>
          <a:bodyPr anchor="ctr"/>
          <a:lstStyle>
            <a:lvl1pPr>
              <a:defRPr sz="3051" b="0" i="0" spc="0">
                <a:solidFill>
                  <a:schemeClr val="bg1"/>
                </a:solidFill>
                <a:latin typeface="Helvetica Light" panose="020B0403020202020204" pitchFamily="34" charset="0"/>
              </a:defRPr>
            </a:lvl1pPr>
          </a:lstStyle>
          <a:p>
            <a:pPr lvl="0"/>
            <a:r>
              <a:rPr lang="sl-SI"/>
              <a:t>Kliknite za urejanje slogov besedila matrice</a:t>
            </a:r>
          </a:p>
        </p:txBody>
      </p:sp>
    </p:spTree>
    <p:extLst>
      <p:ext uri="{BB962C8B-B14F-4D97-AF65-F5344CB8AC3E}">
        <p14:creationId xmlns:p14="http://schemas.microsoft.com/office/powerpoint/2010/main" val="40819899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egnaposto testo 4"/>
          <p:cNvSpPr>
            <a:spLocks noGrp="1"/>
          </p:cNvSpPr>
          <p:nvPr>
            <p:ph type="body" sz="quarter" idx="11"/>
          </p:nvPr>
        </p:nvSpPr>
        <p:spPr>
          <a:xfrm>
            <a:off x="679451" y="583899"/>
            <a:ext cx="1676400" cy="400110"/>
          </a:xfrm>
        </p:spPr>
        <p:txBody>
          <a:bodyPr anchor="ctr"/>
          <a:lstStyle>
            <a:lvl1pPr>
              <a:defRPr sz="2600" b="1" i="0" spc="300">
                <a:solidFill>
                  <a:schemeClr val="bg1"/>
                </a:solidFill>
                <a:latin typeface="Helvetica" pitchFamily="2" charset="0"/>
              </a:defRPr>
            </a:lvl1pPr>
          </a:lstStyle>
          <a:p>
            <a:pPr lvl="0"/>
            <a:r>
              <a:rPr lang="sl-SI"/>
              <a:t>Kliknite za urejanje slogov besedila matrice</a:t>
            </a:r>
          </a:p>
        </p:txBody>
      </p:sp>
      <p:sp>
        <p:nvSpPr>
          <p:cNvPr id="7" name="Segnaposto testo 4"/>
          <p:cNvSpPr>
            <a:spLocks noGrp="1"/>
          </p:cNvSpPr>
          <p:nvPr>
            <p:ph type="body" sz="quarter" idx="13"/>
          </p:nvPr>
        </p:nvSpPr>
        <p:spPr>
          <a:xfrm>
            <a:off x="2436813" y="549275"/>
            <a:ext cx="8986837" cy="469359"/>
          </a:xfrm>
        </p:spPr>
        <p:txBody>
          <a:bodyPr anchor="ctr"/>
          <a:lstStyle>
            <a:lvl1pPr>
              <a:defRPr sz="3050" b="0" i="0" spc="0">
                <a:solidFill>
                  <a:schemeClr val="bg1"/>
                </a:solidFill>
                <a:latin typeface="Helvetica Light" panose="020B0403020202020204" pitchFamily="34" charset="0"/>
              </a:defRPr>
            </a:lvl1pPr>
          </a:lstStyle>
          <a:p>
            <a:pPr lvl="0"/>
            <a:r>
              <a:rPr lang="sl-SI"/>
              <a:t>Kliknite za urejanje slogov besedila matrice</a:t>
            </a:r>
          </a:p>
        </p:txBody>
      </p:sp>
    </p:spTree>
    <p:extLst>
      <p:ext uri="{BB962C8B-B14F-4D97-AF65-F5344CB8AC3E}">
        <p14:creationId xmlns:p14="http://schemas.microsoft.com/office/powerpoint/2010/main" val="45738082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Predmet 1" hidden="1">
            <a:extLst>
              <a:ext uri="{FF2B5EF4-FFF2-40B4-BE49-F238E27FC236}">
                <a16:creationId xmlns:a16="http://schemas.microsoft.com/office/drawing/2014/main" id="{EC4C4956-674E-9408-6463-CCDBAE67536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2" name="Predmet 1" hidden="1">
                        <a:extLst>
                          <a:ext uri="{FF2B5EF4-FFF2-40B4-BE49-F238E27FC236}">
                            <a16:creationId xmlns:a16="http://schemas.microsoft.com/office/drawing/2014/main" id="{EC4C4956-674E-9408-6463-CCDBAE67536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bg object 16">
            <a:extLst>
              <a:ext uri="{FF2B5EF4-FFF2-40B4-BE49-F238E27FC236}">
                <a16:creationId xmlns:a16="http://schemas.microsoft.com/office/drawing/2014/main" id="{B61F3286-557A-B7BD-F8E3-D34CE6431209}"/>
              </a:ext>
            </a:extLst>
          </p:cNvPr>
          <p:cNvSpPr>
            <a:spLocks/>
          </p:cNvSpPr>
          <p:nvPr userDrawn="1"/>
        </p:nvSpPr>
        <p:spPr bwMode="auto">
          <a:xfrm>
            <a:off x="0" y="0"/>
            <a:ext cx="20104100" cy="1546225"/>
          </a:xfrm>
          <a:custGeom>
            <a:avLst/>
            <a:gdLst>
              <a:gd name="T0" fmla="*/ 0 w 20104100"/>
              <a:gd name="T1" fmla="*/ 1530592 h 1530985"/>
              <a:gd name="T2" fmla="*/ 20104099 w 20104100"/>
              <a:gd name="T3" fmla="*/ 1530592 h 1530985"/>
              <a:gd name="T4" fmla="*/ 20104099 w 20104100"/>
              <a:gd name="T5" fmla="*/ 0 h 1530985"/>
              <a:gd name="T6" fmla="*/ 0 w 20104100"/>
              <a:gd name="T7" fmla="*/ 0 h 1530985"/>
              <a:gd name="T8" fmla="*/ 0 w 20104100"/>
              <a:gd name="T9" fmla="*/ 1530592 h 15309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0104100" h="1530985">
                <a:moveTo>
                  <a:pt x="0" y="1530592"/>
                </a:moveTo>
                <a:lnTo>
                  <a:pt x="20104099" y="1530592"/>
                </a:lnTo>
                <a:lnTo>
                  <a:pt x="20104099" y="0"/>
                </a:lnTo>
                <a:lnTo>
                  <a:pt x="0" y="0"/>
                </a:lnTo>
                <a:lnTo>
                  <a:pt x="0" y="1530592"/>
                </a:lnTo>
                <a:close/>
              </a:path>
            </a:pathLst>
          </a:custGeom>
          <a:solidFill>
            <a:srgbClr val="6F778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en-AU"/>
          </a:p>
        </p:txBody>
      </p:sp>
      <p:sp>
        <p:nvSpPr>
          <p:cNvPr id="4" name="Holder 2">
            <a:extLst>
              <a:ext uri="{FF2B5EF4-FFF2-40B4-BE49-F238E27FC236}">
                <a16:creationId xmlns:a16="http://schemas.microsoft.com/office/drawing/2014/main" id="{9D80430C-6F41-2684-7E5A-A76BDD9F3AD4}"/>
              </a:ext>
            </a:extLst>
          </p:cNvPr>
          <p:cNvSpPr txBox="1">
            <a:spLocks/>
          </p:cNvSpPr>
          <p:nvPr userDrawn="1"/>
        </p:nvSpPr>
        <p:spPr>
          <a:xfrm>
            <a:off x="3346450" y="606425"/>
            <a:ext cx="10163175" cy="400050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>
            <a:lvl1pPr>
              <a:defRPr sz="2600" b="1" i="0">
                <a:solidFill>
                  <a:schemeClr val="bg1"/>
                </a:solidFill>
                <a:latin typeface="Helvetica" pitchFamily="2" charset="0"/>
                <a:ea typeface="+mj-ea"/>
                <a:cs typeface="Helvetica Neue"/>
              </a:defRPr>
            </a:lvl1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it-IT" b="0" kern="0" spc="300" dirty="0">
                <a:latin typeface="Helvetica Light" panose="020B0403020202020204" pitchFamily="34" charset="0"/>
              </a:rPr>
              <a:t>COLLECTION</a:t>
            </a:r>
          </a:p>
        </p:txBody>
      </p:sp>
      <p:sp>
        <p:nvSpPr>
          <p:cNvPr id="5" name="Holder 2">
            <a:extLst>
              <a:ext uri="{FF2B5EF4-FFF2-40B4-BE49-F238E27FC236}">
                <a16:creationId xmlns:a16="http://schemas.microsoft.com/office/drawing/2014/main" id="{79F335ED-22BD-C1B6-60DF-8BCCC72D48DF}"/>
              </a:ext>
            </a:extLst>
          </p:cNvPr>
          <p:cNvSpPr txBox="1">
            <a:spLocks/>
          </p:cNvSpPr>
          <p:nvPr userDrawn="1"/>
        </p:nvSpPr>
        <p:spPr>
          <a:xfrm>
            <a:off x="679450" y="606425"/>
            <a:ext cx="2667000" cy="400050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>
            <a:lvl1pPr>
              <a:defRPr sz="2600" b="1" i="0">
                <a:solidFill>
                  <a:schemeClr val="bg1"/>
                </a:solidFill>
                <a:latin typeface="Helvetica" pitchFamily="2" charset="0"/>
                <a:ea typeface="+mj-ea"/>
                <a:cs typeface="Helvetica Neue"/>
              </a:defRPr>
            </a:lvl1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it-IT" spc="600" dirty="0"/>
              <a:t>CARAVANS</a:t>
            </a:r>
            <a:endParaRPr lang="it-IT" kern="0" spc="600" dirty="0"/>
          </a:p>
        </p:txBody>
      </p:sp>
      <p:sp>
        <p:nvSpPr>
          <p:cNvPr id="6" name="object 2">
            <a:extLst>
              <a:ext uri="{FF2B5EF4-FFF2-40B4-BE49-F238E27FC236}">
                <a16:creationId xmlns:a16="http://schemas.microsoft.com/office/drawing/2014/main" id="{4981E2C7-7928-9ED0-61F7-403B269C825C}"/>
              </a:ext>
            </a:extLst>
          </p:cNvPr>
          <p:cNvSpPr>
            <a:spLocks/>
          </p:cNvSpPr>
          <p:nvPr userDrawn="1"/>
        </p:nvSpPr>
        <p:spPr bwMode="auto">
          <a:xfrm>
            <a:off x="16451263" y="663575"/>
            <a:ext cx="3090862" cy="254000"/>
          </a:xfrm>
          <a:custGeom>
            <a:avLst/>
            <a:gdLst>
              <a:gd name="T0" fmla="*/ 343852 w 3090544"/>
              <a:gd name="T1" fmla="*/ 175133 h 253365"/>
              <a:gd name="T2" fmla="*/ 293979 w 3090544"/>
              <a:gd name="T3" fmla="*/ 165417 h 253365"/>
              <a:gd name="T4" fmla="*/ 266420 w 3090544"/>
              <a:gd name="T5" fmla="*/ 207365 h 253365"/>
              <a:gd name="T6" fmla="*/ 293979 w 3090544"/>
              <a:gd name="T7" fmla="*/ 249301 h 253365"/>
              <a:gd name="T8" fmla="*/ 343852 w 3090544"/>
              <a:gd name="T9" fmla="*/ 239534 h 253365"/>
              <a:gd name="T10" fmla="*/ 622452 w 3090544"/>
              <a:gd name="T11" fmla="*/ 246989 h 253365"/>
              <a:gd name="T12" fmla="*/ 413931 w 3090544"/>
              <a:gd name="T13" fmla="*/ 7061 h 253365"/>
              <a:gd name="T14" fmla="*/ 75628 w 3090544"/>
              <a:gd name="T15" fmla="*/ 9728 h 253365"/>
              <a:gd name="T16" fmla="*/ 0 w 3090544"/>
              <a:gd name="T17" fmla="*/ 123494 h 253365"/>
              <a:gd name="T18" fmla="*/ 75628 w 3090544"/>
              <a:gd name="T19" fmla="*/ 237286 h 253365"/>
              <a:gd name="T20" fmla="*/ 238823 w 3090544"/>
              <a:gd name="T21" fmla="*/ 203530 h 253365"/>
              <a:gd name="T22" fmla="*/ 164350 w 3090544"/>
              <a:gd name="T23" fmla="*/ 153962 h 253365"/>
              <a:gd name="T24" fmla="*/ 181749 w 3090544"/>
              <a:gd name="T25" fmla="*/ 65608 h 253365"/>
              <a:gd name="T26" fmla="*/ 258483 w 3090544"/>
              <a:gd name="T27" fmla="*/ 44411 h 253365"/>
              <a:gd name="T28" fmla="*/ 303085 w 3090544"/>
              <a:gd name="T29" fmla="*/ 74142 h 253365"/>
              <a:gd name="T30" fmla="*/ 1268044 w 3090544"/>
              <a:gd name="T31" fmla="*/ 248894 h 253365"/>
              <a:gd name="T32" fmla="*/ 1146378 w 3090544"/>
              <a:gd name="T33" fmla="*/ 92595 h 253365"/>
              <a:gd name="T34" fmla="*/ 1023289 w 3090544"/>
              <a:gd name="T35" fmla="*/ 174459 h 253365"/>
              <a:gd name="T36" fmla="*/ 1023289 w 3090544"/>
              <a:gd name="T37" fmla="*/ 174459 h 253365"/>
              <a:gd name="T38" fmla="*/ 906818 w 3090544"/>
              <a:gd name="T39" fmla="*/ 52743 h 253365"/>
              <a:gd name="T40" fmla="*/ 864831 w 3090544"/>
              <a:gd name="T41" fmla="*/ 218249 h 253365"/>
              <a:gd name="T42" fmla="*/ 1268044 w 3090544"/>
              <a:gd name="T43" fmla="*/ 248894 h 253365"/>
              <a:gd name="T44" fmla="*/ 1706829 w 3090544"/>
              <a:gd name="T45" fmla="*/ 43764 h 253365"/>
              <a:gd name="T46" fmla="*/ 1585315 w 3090544"/>
              <a:gd name="T47" fmla="*/ 2298 h 253365"/>
              <a:gd name="T48" fmla="*/ 1564487 w 3090544"/>
              <a:gd name="T49" fmla="*/ 183870 h 253365"/>
              <a:gd name="T50" fmla="*/ 1458353 w 3090544"/>
              <a:gd name="T51" fmla="*/ 205105 h 253365"/>
              <a:gd name="T52" fmla="*/ 1538414 w 3090544"/>
              <a:gd name="T53" fmla="*/ 49377 h 253365"/>
              <a:gd name="T54" fmla="*/ 1585315 w 3090544"/>
              <a:gd name="T55" fmla="*/ 124942 h 253365"/>
              <a:gd name="T56" fmla="*/ 1301597 w 3090544"/>
              <a:gd name="T57" fmla="*/ 0 h 253365"/>
              <a:gd name="T58" fmla="*/ 1604314 w 3090544"/>
              <a:gd name="T59" fmla="*/ 245668 h 253365"/>
              <a:gd name="T60" fmla="*/ 1735251 w 3090544"/>
              <a:gd name="T61" fmla="*/ 164058 h 253365"/>
              <a:gd name="T62" fmla="*/ 2206523 w 3090544"/>
              <a:gd name="T63" fmla="*/ 157530 h 253365"/>
              <a:gd name="T64" fmla="*/ 2261095 w 3090544"/>
              <a:gd name="T65" fmla="*/ 106921 h 253365"/>
              <a:gd name="T66" fmla="*/ 2252942 w 3090544"/>
              <a:gd name="T67" fmla="*/ 43802 h 253365"/>
              <a:gd name="T68" fmla="*/ 2154047 w 3090544"/>
              <a:gd name="T69" fmla="*/ 0 h 253365"/>
              <a:gd name="T70" fmla="*/ 1977072 w 3090544"/>
              <a:gd name="T71" fmla="*/ 248894 h 253365"/>
              <a:gd name="T72" fmla="*/ 2073948 w 3090544"/>
              <a:gd name="T73" fmla="*/ 47777 h 253365"/>
              <a:gd name="T74" fmla="*/ 2104517 w 3090544"/>
              <a:gd name="T75" fmla="*/ 89331 h 253365"/>
              <a:gd name="T76" fmla="*/ 2063915 w 3090544"/>
              <a:gd name="T77" fmla="*/ 136613 h 253365"/>
              <a:gd name="T78" fmla="*/ 2081834 w 3090544"/>
              <a:gd name="T79" fmla="*/ 248894 h 253365"/>
              <a:gd name="T80" fmla="*/ 2366886 w 3090544"/>
              <a:gd name="T81" fmla="*/ 12 h 253365"/>
              <a:gd name="T82" fmla="*/ 2523629 w 3090544"/>
              <a:gd name="T83" fmla="*/ 12 h 253365"/>
              <a:gd name="T84" fmla="*/ 3032163 w 3090544"/>
              <a:gd name="T85" fmla="*/ 174459 h 253365"/>
              <a:gd name="T86" fmla="*/ 2845473 w 3090544"/>
              <a:gd name="T87" fmla="*/ 0 h 253365"/>
              <a:gd name="T88" fmla="*/ 2782201 w 3090544"/>
              <a:gd name="T89" fmla="*/ 92595 h 253365"/>
              <a:gd name="T90" fmla="*/ 2688132 w 3090544"/>
              <a:gd name="T91" fmla="*/ 0 h 253365"/>
              <a:gd name="T92" fmla="*/ 2661729 w 3090544"/>
              <a:gd name="T93" fmla="*/ 248894 h 253365"/>
              <a:gd name="T94" fmla="*/ 2902902 w 3090544"/>
              <a:gd name="T95" fmla="*/ 248894 h 25336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3090544" h="253365">
                <a:moveTo>
                  <a:pt x="357009" y="207365"/>
                </a:moveTo>
                <a:lnTo>
                  <a:pt x="353491" y="189585"/>
                </a:lnTo>
                <a:lnTo>
                  <a:pt x="343852" y="175133"/>
                </a:lnTo>
                <a:lnTo>
                  <a:pt x="329476" y="165417"/>
                </a:lnTo>
                <a:lnTo>
                  <a:pt x="311746" y="161861"/>
                </a:lnTo>
                <a:lnTo>
                  <a:pt x="293979" y="165417"/>
                </a:lnTo>
                <a:lnTo>
                  <a:pt x="279577" y="175133"/>
                </a:lnTo>
                <a:lnTo>
                  <a:pt x="269938" y="189585"/>
                </a:lnTo>
                <a:lnTo>
                  <a:pt x="266420" y="207365"/>
                </a:lnTo>
                <a:lnTo>
                  <a:pt x="269938" y="225056"/>
                </a:lnTo>
                <a:lnTo>
                  <a:pt x="279577" y="239534"/>
                </a:lnTo>
                <a:lnTo>
                  <a:pt x="293979" y="249301"/>
                </a:lnTo>
                <a:lnTo>
                  <a:pt x="311746" y="252895"/>
                </a:lnTo>
                <a:lnTo>
                  <a:pt x="329476" y="249301"/>
                </a:lnTo>
                <a:lnTo>
                  <a:pt x="343852" y="239534"/>
                </a:lnTo>
                <a:lnTo>
                  <a:pt x="353491" y="225056"/>
                </a:lnTo>
                <a:lnTo>
                  <a:pt x="357009" y="207365"/>
                </a:lnTo>
                <a:close/>
              </a:path>
              <a:path w="3090544" h="253365">
                <a:moveTo>
                  <a:pt x="622452" y="246989"/>
                </a:moveTo>
                <a:lnTo>
                  <a:pt x="493928" y="81991"/>
                </a:lnTo>
                <a:lnTo>
                  <a:pt x="469874" y="51904"/>
                </a:lnTo>
                <a:lnTo>
                  <a:pt x="413931" y="7061"/>
                </a:lnTo>
                <a:lnTo>
                  <a:pt x="377621" y="12"/>
                </a:lnTo>
                <a:lnTo>
                  <a:pt x="123710" y="12"/>
                </a:lnTo>
                <a:lnTo>
                  <a:pt x="75628" y="9728"/>
                </a:lnTo>
                <a:lnTo>
                  <a:pt x="36296" y="36195"/>
                </a:lnTo>
                <a:lnTo>
                  <a:pt x="9740" y="75450"/>
                </a:lnTo>
                <a:lnTo>
                  <a:pt x="0" y="123494"/>
                </a:lnTo>
                <a:lnTo>
                  <a:pt x="9740" y="171564"/>
                </a:lnTo>
                <a:lnTo>
                  <a:pt x="36296" y="210820"/>
                </a:lnTo>
                <a:lnTo>
                  <a:pt x="75628" y="237286"/>
                </a:lnTo>
                <a:lnTo>
                  <a:pt x="123710" y="246989"/>
                </a:lnTo>
                <a:lnTo>
                  <a:pt x="238823" y="246989"/>
                </a:lnTo>
                <a:lnTo>
                  <a:pt x="238823" y="203530"/>
                </a:lnTo>
                <a:lnTo>
                  <a:pt x="207429" y="197129"/>
                </a:lnTo>
                <a:lnTo>
                  <a:pt x="181724" y="179705"/>
                </a:lnTo>
                <a:lnTo>
                  <a:pt x="164350" y="153962"/>
                </a:lnTo>
                <a:lnTo>
                  <a:pt x="157975" y="122542"/>
                </a:lnTo>
                <a:lnTo>
                  <a:pt x="164363" y="91198"/>
                </a:lnTo>
                <a:lnTo>
                  <a:pt x="181749" y="65608"/>
                </a:lnTo>
                <a:lnTo>
                  <a:pt x="207530" y="48361"/>
                </a:lnTo>
                <a:lnTo>
                  <a:pt x="239064" y="42037"/>
                </a:lnTo>
                <a:lnTo>
                  <a:pt x="258483" y="44411"/>
                </a:lnTo>
                <a:lnTo>
                  <a:pt x="275844" y="51041"/>
                </a:lnTo>
                <a:lnTo>
                  <a:pt x="290817" y="61201"/>
                </a:lnTo>
                <a:lnTo>
                  <a:pt x="303085" y="74142"/>
                </a:lnTo>
                <a:lnTo>
                  <a:pt x="436664" y="246989"/>
                </a:lnTo>
                <a:lnTo>
                  <a:pt x="622452" y="246989"/>
                </a:lnTo>
                <a:close/>
              </a:path>
              <a:path w="3090544" h="253365">
                <a:moveTo>
                  <a:pt x="1268044" y="248894"/>
                </a:moveTo>
                <a:lnTo>
                  <a:pt x="1244193" y="218249"/>
                </a:lnTo>
                <a:lnTo>
                  <a:pt x="1210106" y="174459"/>
                </a:lnTo>
                <a:lnTo>
                  <a:pt x="1146378" y="92595"/>
                </a:lnTo>
                <a:lnTo>
                  <a:pt x="1074293" y="0"/>
                </a:lnTo>
                <a:lnTo>
                  <a:pt x="1023289" y="0"/>
                </a:lnTo>
                <a:lnTo>
                  <a:pt x="1023289" y="174459"/>
                </a:lnTo>
                <a:lnTo>
                  <a:pt x="894892" y="174459"/>
                </a:lnTo>
                <a:lnTo>
                  <a:pt x="960107" y="92595"/>
                </a:lnTo>
                <a:lnTo>
                  <a:pt x="1023289" y="174459"/>
                </a:lnTo>
                <a:lnTo>
                  <a:pt x="1023289" y="0"/>
                </a:lnTo>
                <a:lnTo>
                  <a:pt x="866051" y="0"/>
                </a:lnTo>
                <a:lnTo>
                  <a:pt x="906818" y="52743"/>
                </a:lnTo>
                <a:lnTo>
                  <a:pt x="746315" y="248894"/>
                </a:lnTo>
                <a:lnTo>
                  <a:pt x="839660" y="248894"/>
                </a:lnTo>
                <a:lnTo>
                  <a:pt x="864831" y="218249"/>
                </a:lnTo>
                <a:lnTo>
                  <a:pt x="1057160" y="218249"/>
                </a:lnTo>
                <a:lnTo>
                  <a:pt x="1080795" y="248894"/>
                </a:lnTo>
                <a:lnTo>
                  <a:pt x="1268044" y="248894"/>
                </a:lnTo>
                <a:close/>
              </a:path>
              <a:path w="3090544" h="253365">
                <a:moveTo>
                  <a:pt x="1740636" y="125158"/>
                </a:moveTo>
                <a:lnTo>
                  <a:pt x="1735315" y="86347"/>
                </a:lnTo>
                <a:lnTo>
                  <a:pt x="1706829" y="43764"/>
                </a:lnTo>
                <a:lnTo>
                  <a:pt x="1654098" y="13538"/>
                </a:lnTo>
                <a:lnTo>
                  <a:pt x="1604657" y="3365"/>
                </a:lnTo>
                <a:lnTo>
                  <a:pt x="1585315" y="2298"/>
                </a:lnTo>
                <a:lnTo>
                  <a:pt x="1585315" y="124942"/>
                </a:lnTo>
                <a:lnTo>
                  <a:pt x="1580108" y="158673"/>
                </a:lnTo>
                <a:lnTo>
                  <a:pt x="1564487" y="183870"/>
                </a:lnTo>
                <a:lnTo>
                  <a:pt x="1538516" y="199644"/>
                </a:lnTo>
                <a:lnTo>
                  <a:pt x="1502232" y="205105"/>
                </a:lnTo>
                <a:lnTo>
                  <a:pt x="1458353" y="205105"/>
                </a:lnTo>
                <a:lnTo>
                  <a:pt x="1458353" y="43764"/>
                </a:lnTo>
                <a:lnTo>
                  <a:pt x="1502232" y="43764"/>
                </a:lnTo>
                <a:lnTo>
                  <a:pt x="1538414" y="49377"/>
                </a:lnTo>
                <a:lnTo>
                  <a:pt x="1564398" y="65506"/>
                </a:lnTo>
                <a:lnTo>
                  <a:pt x="1580070" y="91059"/>
                </a:lnTo>
                <a:lnTo>
                  <a:pt x="1585315" y="124942"/>
                </a:lnTo>
                <a:lnTo>
                  <a:pt x="1585315" y="2298"/>
                </a:lnTo>
                <a:lnTo>
                  <a:pt x="1543723" y="0"/>
                </a:lnTo>
                <a:lnTo>
                  <a:pt x="1301597" y="0"/>
                </a:lnTo>
                <a:lnTo>
                  <a:pt x="1301597" y="248894"/>
                </a:lnTo>
                <a:lnTo>
                  <a:pt x="1543723" y="248894"/>
                </a:lnTo>
                <a:lnTo>
                  <a:pt x="1604314" y="245668"/>
                </a:lnTo>
                <a:lnTo>
                  <a:pt x="1653654" y="235839"/>
                </a:lnTo>
                <a:lnTo>
                  <a:pt x="1691855" y="219138"/>
                </a:lnTo>
                <a:lnTo>
                  <a:pt x="1735251" y="164058"/>
                </a:lnTo>
                <a:lnTo>
                  <a:pt x="1740636" y="125158"/>
                </a:lnTo>
                <a:close/>
              </a:path>
              <a:path w="3090544" h="253365">
                <a:moveTo>
                  <a:pt x="2277529" y="248894"/>
                </a:moveTo>
                <a:lnTo>
                  <a:pt x="2206523" y="157530"/>
                </a:lnTo>
                <a:lnTo>
                  <a:pt x="2231339" y="145008"/>
                </a:lnTo>
                <a:lnTo>
                  <a:pt x="2249703" y="127965"/>
                </a:lnTo>
                <a:lnTo>
                  <a:pt x="2261095" y="106921"/>
                </a:lnTo>
                <a:lnTo>
                  <a:pt x="2265019" y="82397"/>
                </a:lnTo>
                <a:lnTo>
                  <a:pt x="2258149" y="50393"/>
                </a:lnTo>
                <a:lnTo>
                  <a:pt x="2252942" y="43802"/>
                </a:lnTo>
                <a:lnTo>
                  <a:pt x="2237448" y="24193"/>
                </a:lnTo>
                <a:lnTo>
                  <a:pt x="2202789" y="6502"/>
                </a:lnTo>
                <a:lnTo>
                  <a:pt x="2154047" y="0"/>
                </a:lnTo>
                <a:lnTo>
                  <a:pt x="1820545" y="0"/>
                </a:lnTo>
                <a:lnTo>
                  <a:pt x="1820545" y="248894"/>
                </a:lnTo>
                <a:lnTo>
                  <a:pt x="1977072" y="248894"/>
                </a:lnTo>
                <a:lnTo>
                  <a:pt x="1977072" y="43802"/>
                </a:lnTo>
                <a:lnTo>
                  <a:pt x="2047989" y="43802"/>
                </a:lnTo>
                <a:lnTo>
                  <a:pt x="2073948" y="47777"/>
                </a:lnTo>
                <a:lnTo>
                  <a:pt x="2091486" y="58178"/>
                </a:lnTo>
                <a:lnTo>
                  <a:pt x="2101392" y="72783"/>
                </a:lnTo>
                <a:lnTo>
                  <a:pt x="2104517" y="89331"/>
                </a:lnTo>
                <a:lnTo>
                  <a:pt x="2098624" y="111201"/>
                </a:lnTo>
                <a:lnTo>
                  <a:pt x="2083714" y="127012"/>
                </a:lnTo>
                <a:lnTo>
                  <a:pt x="2063915" y="136613"/>
                </a:lnTo>
                <a:lnTo>
                  <a:pt x="2043353" y="139852"/>
                </a:lnTo>
                <a:lnTo>
                  <a:pt x="2022157" y="139852"/>
                </a:lnTo>
                <a:lnTo>
                  <a:pt x="2081834" y="248894"/>
                </a:lnTo>
                <a:lnTo>
                  <a:pt x="2277529" y="248894"/>
                </a:lnTo>
                <a:close/>
              </a:path>
              <a:path w="3090544" h="253365">
                <a:moveTo>
                  <a:pt x="2523629" y="12"/>
                </a:moveTo>
                <a:lnTo>
                  <a:pt x="2366886" y="12"/>
                </a:lnTo>
                <a:lnTo>
                  <a:pt x="2366886" y="248894"/>
                </a:lnTo>
                <a:lnTo>
                  <a:pt x="2523629" y="248894"/>
                </a:lnTo>
                <a:lnTo>
                  <a:pt x="2523629" y="12"/>
                </a:lnTo>
                <a:close/>
              </a:path>
              <a:path w="3090544" h="253365">
                <a:moveTo>
                  <a:pt x="3090049" y="248894"/>
                </a:moveTo>
                <a:lnTo>
                  <a:pt x="3066224" y="218249"/>
                </a:lnTo>
                <a:lnTo>
                  <a:pt x="3032163" y="174459"/>
                </a:lnTo>
                <a:lnTo>
                  <a:pt x="2968498" y="92595"/>
                </a:lnTo>
                <a:lnTo>
                  <a:pt x="2896476" y="0"/>
                </a:lnTo>
                <a:lnTo>
                  <a:pt x="2845473" y="0"/>
                </a:lnTo>
                <a:lnTo>
                  <a:pt x="2845473" y="174459"/>
                </a:lnTo>
                <a:lnTo>
                  <a:pt x="2716720" y="174459"/>
                </a:lnTo>
                <a:lnTo>
                  <a:pt x="2782201" y="92595"/>
                </a:lnTo>
                <a:lnTo>
                  <a:pt x="2845473" y="174459"/>
                </a:lnTo>
                <a:lnTo>
                  <a:pt x="2845473" y="0"/>
                </a:lnTo>
                <a:lnTo>
                  <a:pt x="2688132" y="0"/>
                </a:lnTo>
                <a:lnTo>
                  <a:pt x="2728988" y="52743"/>
                </a:lnTo>
                <a:lnTo>
                  <a:pt x="2568397" y="248894"/>
                </a:lnTo>
                <a:lnTo>
                  <a:pt x="2661729" y="248894"/>
                </a:lnTo>
                <a:lnTo>
                  <a:pt x="2686913" y="218249"/>
                </a:lnTo>
                <a:lnTo>
                  <a:pt x="2879267" y="218249"/>
                </a:lnTo>
                <a:lnTo>
                  <a:pt x="2902902" y="248894"/>
                </a:lnTo>
                <a:lnTo>
                  <a:pt x="3090049" y="248894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en-AU"/>
          </a:p>
        </p:txBody>
      </p:sp>
      <p:sp>
        <p:nvSpPr>
          <p:cNvPr id="7" name="object 10">
            <a:extLst>
              <a:ext uri="{FF2B5EF4-FFF2-40B4-BE49-F238E27FC236}">
                <a16:creationId xmlns:a16="http://schemas.microsoft.com/office/drawing/2014/main" id="{F1ED9587-3880-566A-CF14-B3C017595850}"/>
              </a:ext>
            </a:extLst>
          </p:cNvPr>
          <p:cNvSpPr txBox="1"/>
          <p:nvPr userDrawn="1"/>
        </p:nvSpPr>
        <p:spPr>
          <a:xfrm>
            <a:off x="787400" y="10320338"/>
            <a:ext cx="2947988" cy="503237"/>
          </a:xfrm>
          <a:prstGeom prst="rect">
            <a:avLst/>
          </a:prstGeom>
          <a:solidFill>
            <a:srgbClr val="B3B1B5">
              <a:alpha val="94902"/>
            </a:srgbClr>
          </a:solidFill>
        </p:spPr>
        <p:txBody>
          <a:bodyPr lIns="0" tIns="129539" rIns="0" bIns="0">
            <a:spAutoFit/>
          </a:bodyPr>
          <a:lstStyle/>
          <a:p>
            <a:pPr algn="ctr" eaLnBrk="1" fontAlgn="auto" hangingPunct="1">
              <a:spcBef>
                <a:spcPts val="1019"/>
              </a:spcBef>
              <a:spcAft>
                <a:spcPts val="0"/>
              </a:spcAft>
              <a:defRPr/>
            </a:pPr>
            <a:r>
              <a:rPr lang="it-IT" sz="1350" b="1" spc="175" dirty="0" err="1">
                <a:solidFill>
                  <a:srgbClr val="FFFFFF"/>
                </a:solidFill>
                <a:latin typeface="Helvetica Neue"/>
                <a:cs typeface="Helvetica Neue"/>
              </a:rPr>
              <a:t>S</a:t>
            </a:r>
            <a:r>
              <a:rPr lang="it-IT" sz="1350" b="1" spc="-80" dirty="0">
                <a:solidFill>
                  <a:srgbClr val="FFFFFF"/>
                </a:solidFill>
                <a:latin typeface="Helvetica Neue"/>
                <a:cs typeface="Helvetica Neue"/>
              </a:rPr>
              <a:t> </a:t>
            </a:r>
            <a:r>
              <a:rPr lang="it-IT" sz="1350" b="1" spc="535" dirty="0">
                <a:solidFill>
                  <a:srgbClr val="FFFFFF"/>
                </a:solidFill>
                <a:latin typeface="Helvetica Neue"/>
                <a:cs typeface="Helvetica Neue"/>
              </a:rPr>
              <a:t>T</a:t>
            </a:r>
            <a:r>
              <a:rPr lang="it-IT" sz="1350" b="1" spc="340" dirty="0">
                <a:solidFill>
                  <a:srgbClr val="FFFFFF"/>
                </a:solidFill>
                <a:latin typeface="Helvetica Neue"/>
                <a:cs typeface="Helvetica Neue"/>
              </a:rPr>
              <a:t>A</a:t>
            </a:r>
            <a:r>
              <a:rPr lang="it-IT" sz="1350" b="1" spc="370" dirty="0">
                <a:solidFill>
                  <a:srgbClr val="FFFFFF"/>
                </a:solidFill>
                <a:latin typeface="Helvetica Neue"/>
                <a:cs typeface="Helvetica Neue"/>
              </a:rPr>
              <a:t>T</a:t>
            </a:r>
            <a:r>
              <a:rPr lang="it-IT" sz="1350" b="1" spc="-80" dirty="0">
                <a:solidFill>
                  <a:srgbClr val="FFFFFF"/>
                </a:solidFill>
                <a:latin typeface="Helvetica Neue"/>
                <a:cs typeface="Helvetica Neue"/>
              </a:rPr>
              <a:t> </a:t>
            </a:r>
            <a:r>
              <a:rPr lang="it-IT" sz="1350" b="1" spc="225" dirty="0">
                <a:solidFill>
                  <a:srgbClr val="FFFFFF"/>
                </a:solidFill>
                <a:latin typeface="Helvetica Neue"/>
                <a:cs typeface="Helvetica Neue"/>
              </a:rPr>
              <a:t>U</a:t>
            </a:r>
            <a:r>
              <a:rPr lang="it-IT" sz="1350" b="1" spc="-80" dirty="0">
                <a:solidFill>
                  <a:srgbClr val="FFFFFF"/>
                </a:solidFill>
                <a:latin typeface="Helvetica Neue"/>
                <a:cs typeface="Helvetica Neue"/>
              </a:rPr>
              <a:t> </a:t>
            </a:r>
            <a:r>
              <a:rPr lang="it-IT" sz="1350" b="1" spc="175" dirty="0" err="1">
                <a:solidFill>
                  <a:srgbClr val="FFFFFF"/>
                </a:solidFill>
                <a:latin typeface="Helvetica Neue"/>
                <a:cs typeface="Helvetica Neue"/>
              </a:rPr>
              <a:t>S</a:t>
            </a:r>
            <a:endParaRPr lang="it-IT" sz="1350" dirty="0">
              <a:latin typeface="Helvetica Neue"/>
              <a:cs typeface="Helvetica Neue"/>
            </a:endParaRPr>
          </a:p>
        </p:txBody>
      </p:sp>
      <p:sp>
        <p:nvSpPr>
          <p:cNvPr id="8" name="object 12">
            <a:extLst>
              <a:ext uri="{FF2B5EF4-FFF2-40B4-BE49-F238E27FC236}">
                <a16:creationId xmlns:a16="http://schemas.microsoft.com/office/drawing/2014/main" id="{1C82ED48-C59F-1DB0-DDB0-0D568998306E}"/>
              </a:ext>
            </a:extLst>
          </p:cNvPr>
          <p:cNvSpPr txBox="1"/>
          <p:nvPr userDrawn="1"/>
        </p:nvSpPr>
        <p:spPr>
          <a:xfrm>
            <a:off x="3908425" y="10320338"/>
            <a:ext cx="2946400" cy="503237"/>
          </a:xfrm>
          <a:prstGeom prst="rect">
            <a:avLst/>
          </a:prstGeom>
          <a:solidFill>
            <a:srgbClr val="B3B1B5">
              <a:alpha val="94902"/>
            </a:srgbClr>
          </a:solidFill>
        </p:spPr>
        <p:txBody>
          <a:bodyPr lIns="0" tIns="129539" rIns="0" bIns="0">
            <a:spAutoFit/>
          </a:bodyPr>
          <a:lstStyle/>
          <a:p>
            <a:pPr marL="789940" eaLnBrk="1" fontAlgn="auto" hangingPunct="1">
              <a:spcBef>
                <a:spcPts val="1019"/>
              </a:spcBef>
              <a:spcAft>
                <a:spcPts val="0"/>
              </a:spcAft>
              <a:defRPr/>
            </a:pPr>
            <a:r>
              <a:rPr lang="it-IT" sz="1350" b="1" spc="175" dirty="0">
                <a:solidFill>
                  <a:srgbClr val="FFFFFF"/>
                </a:solidFill>
                <a:latin typeface="Helvetica Neue"/>
                <a:cs typeface="Helvetica Neue"/>
              </a:rPr>
              <a:t>A</a:t>
            </a:r>
            <a:r>
              <a:rPr lang="it-IT" sz="1350" b="1" spc="-80" dirty="0">
                <a:solidFill>
                  <a:srgbClr val="FFFFFF"/>
                </a:solidFill>
                <a:latin typeface="Helvetica Neue"/>
                <a:cs typeface="Helvetica Neue"/>
              </a:rPr>
              <a:t> </a:t>
            </a:r>
            <a:r>
              <a:rPr lang="it-IT" sz="1350" b="1" spc="200" dirty="0">
                <a:solidFill>
                  <a:srgbClr val="FFFFFF"/>
                </a:solidFill>
                <a:latin typeface="Helvetica Neue"/>
                <a:cs typeface="Helvetica Neue"/>
              </a:rPr>
              <a:t>D</a:t>
            </a:r>
            <a:r>
              <a:rPr lang="it-IT" sz="1350" b="1" spc="-80" dirty="0">
                <a:solidFill>
                  <a:srgbClr val="FFFFFF"/>
                </a:solidFill>
                <a:latin typeface="Helvetica Neue"/>
                <a:cs typeface="Helvetica Neue"/>
              </a:rPr>
              <a:t> </a:t>
            </a:r>
            <a:r>
              <a:rPr lang="it-IT" sz="1350" b="1" spc="170" dirty="0">
                <a:solidFill>
                  <a:srgbClr val="FFFFFF"/>
                </a:solidFill>
                <a:latin typeface="Helvetica Neue"/>
                <a:cs typeface="Helvetica Neue"/>
              </a:rPr>
              <a:t>V</a:t>
            </a:r>
            <a:r>
              <a:rPr lang="it-IT" sz="1350" b="1" spc="-145" dirty="0">
                <a:solidFill>
                  <a:srgbClr val="FFFFFF"/>
                </a:solidFill>
                <a:latin typeface="Helvetica Neue"/>
                <a:cs typeface="Helvetica Neue"/>
              </a:rPr>
              <a:t> </a:t>
            </a:r>
            <a:r>
              <a:rPr lang="it-IT" sz="1350" b="1" spc="175" dirty="0">
                <a:solidFill>
                  <a:srgbClr val="FFFFFF"/>
                </a:solidFill>
                <a:latin typeface="Helvetica Neue"/>
                <a:cs typeface="Helvetica Neue"/>
              </a:rPr>
              <a:t>A</a:t>
            </a:r>
            <a:r>
              <a:rPr lang="it-IT" sz="1350" b="1" spc="-80" dirty="0">
                <a:solidFill>
                  <a:srgbClr val="FFFFFF"/>
                </a:solidFill>
                <a:latin typeface="Helvetica Neue"/>
                <a:cs typeface="Helvetica Neue"/>
              </a:rPr>
              <a:t> </a:t>
            </a:r>
            <a:r>
              <a:rPr lang="it-IT" sz="1350" b="1" spc="225" dirty="0" err="1">
                <a:solidFill>
                  <a:srgbClr val="FFFFFF"/>
                </a:solidFill>
                <a:latin typeface="Helvetica Neue"/>
                <a:cs typeface="Helvetica Neue"/>
              </a:rPr>
              <a:t>N</a:t>
            </a:r>
            <a:r>
              <a:rPr lang="it-IT" sz="1350" b="1" spc="-80" dirty="0">
                <a:solidFill>
                  <a:srgbClr val="FFFFFF"/>
                </a:solidFill>
                <a:latin typeface="Helvetica Neue"/>
                <a:cs typeface="Helvetica Neue"/>
              </a:rPr>
              <a:t> </a:t>
            </a:r>
            <a:r>
              <a:rPr lang="it-IT" sz="1350" b="1" spc="535" dirty="0">
                <a:solidFill>
                  <a:srgbClr val="FFFFFF"/>
                </a:solidFill>
                <a:latin typeface="Helvetica Neue"/>
                <a:cs typeface="Helvetica Neue"/>
              </a:rPr>
              <a:t>T</a:t>
            </a:r>
            <a:r>
              <a:rPr lang="it-IT" sz="1350" b="1" spc="175" dirty="0">
                <a:solidFill>
                  <a:srgbClr val="FFFFFF"/>
                </a:solidFill>
                <a:latin typeface="Helvetica Neue"/>
                <a:cs typeface="Helvetica Neue"/>
              </a:rPr>
              <a:t>A</a:t>
            </a:r>
            <a:r>
              <a:rPr lang="it-IT" sz="1350" b="1" spc="-80" dirty="0">
                <a:solidFill>
                  <a:srgbClr val="FFFFFF"/>
                </a:solidFill>
                <a:latin typeface="Helvetica Neue"/>
                <a:cs typeface="Helvetica Neue"/>
              </a:rPr>
              <a:t> </a:t>
            </a:r>
            <a:r>
              <a:rPr lang="it-IT" sz="1350" b="1" spc="225" dirty="0">
                <a:solidFill>
                  <a:srgbClr val="FFFFFF"/>
                </a:solidFill>
                <a:latin typeface="Helvetica Neue"/>
                <a:cs typeface="Helvetica Neue"/>
              </a:rPr>
              <a:t>G</a:t>
            </a:r>
            <a:r>
              <a:rPr lang="it-IT" sz="1350" b="1" spc="-80" dirty="0">
                <a:solidFill>
                  <a:srgbClr val="FFFFFF"/>
                </a:solidFill>
                <a:latin typeface="Helvetica Neue"/>
                <a:cs typeface="Helvetica Neue"/>
              </a:rPr>
              <a:t> </a:t>
            </a:r>
            <a:r>
              <a:rPr lang="it-IT" sz="1350" b="1" spc="120" dirty="0">
                <a:solidFill>
                  <a:srgbClr val="FFFFFF"/>
                </a:solidFill>
                <a:latin typeface="Helvetica Neue"/>
                <a:cs typeface="Helvetica Neue"/>
              </a:rPr>
              <a:t>E</a:t>
            </a:r>
            <a:endParaRPr lang="it-IT" sz="1350" dirty="0">
              <a:latin typeface="Helvetica Neue"/>
              <a:cs typeface="Helvetica Neue"/>
            </a:endParaRPr>
          </a:p>
        </p:txBody>
      </p:sp>
      <p:sp>
        <p:nvSpPr>
          <p:cNvPr id="9" name="object 14">
            <a:extLst>
              <a:ext uri="{FF2B5EF4-FFF2-40B4-BE49-F238E27FC236}">
                <a16:creationId xmlns:a16="http://schemas.microsoft.com/office/drawing/2014/main" id="{31614B47-3130-9193-B6D6-CE063F6C72AD}"/>
              </a:ext>
            </a:extLst>
          </p:cNvPr>
          <p:cNvSpPr txBox="1"/>
          <p:nvPr userDrawn="1"/>
        </p:nvSpPr>
        <p:spPr>
          <a:xfrm>
            <a:off x="7027863" y="10320338"/>
            <a:ext cx="2946400" cy="503237"/>
          </a:xfrm>
          <a:prstGeom prst="rect">
            <a:avLst/>
          </a:prstGeom>
          <a:solidFill>
            <a:srgbClr val="B3B1B5">
              <a:alpha val="94902"/>
            </a:srgbClr>
          </a:solidFill>
        </p:spPr>
        <p:txBody>
          <a:bodyPr lIns="0" tIns="129539" rIns="0" bIns="0">
            <a:spAutoFit/>
          </a:bodyPr>
          <a:lstStyle/>
          <a:p>
            <a:pPr marL="737870" eaLnBrk="1" fontAlgn="auto" hangingPunct="1">
              <a:spcBef>
                <a:spcPts val="1019"/>
              </a:spcBef>
              <a:spcAft>
                <a:spcPts val="0"/>
              </a:spcAft>
              <a:defRPr/>
            </a:pPr>
            <a:r>
              <a:rPr lang="it-IT" sz="1350" b="1" spc="120" dirty="0">
                <a:solidFill>
                  <a:srgbClr val="FFFFFF"/>
                </a:solidFill>
                <a:latin typeface="Helvetica Neue"/>
                <a:cs typeface="Helvetica Neue"/>
              </a:rPr>
              <a:t>E</a:t>
            </a:r>
            <a:r>
              <a:rPr lang="it-IT" sz="1350" b="1" spc="-90" dirty="0">
                <a:solidFill>
                  <a:srgbClr val="FFFFFF"/>
                </a:solidFill>
                <a:latin typeface="Helvetica Neue"/>
                <a:cs typeface="Helvetica Neue"/>
              </a:rPr>
              <a:t> </a:t>
            </a:r>
            <a:r>
              <a:rPr lang="it-IT" sz="1350" b="1" spc="200" dirty="0">
                <a:solidFill>
                  <a:srgbClr val="FFFFFF"/>
                </a:solidFill>
                <a:latin typeface="Helvetica Neue"/>
                <a:cs typeface="Helvetica Neue"/>
              </a:rPr>
              <a:t>X</a:t>
            </a:r>
            <a:r>
              <a:rPr lang="it-IT" sz="1350" b="1" spc="-85" dirty="0">
                <a:solidFill>
                  <a:srgbClr val="FFFFFF"/>
                </a:solidFill>
                <a:latin typeface="Helvetica Neue"/>
                <a:cs typeface="Helvetica Neue"/>
              </a:rPr>
              <a:t> </a:t>
            </a:r>
            <a:r>
              <a:rPr lang="it-IT" sz="1350" b="1" spc="100" dirty="0" err="1">
                <a:solidFill>
                  <a:srgbClr val="FFFFFF"/>
                </a:solidFill>
                <a:latin typeface="Helvetica Neue"/>
                <a:cs typeface="Helvetica Neue"/>
              </a:rPr>
              <a:t>P</a:t>
            </a:r>
            <a:r>
              <a:rPr lang="it-IT" sz="1350" b="1" spc="-90" dirty="0">
                <a:solidFill>
                  <a:srgbClr val="FFFFFF"/>
                </a:solidFill>
                <a:latin typeface="Helvetica Neue"/>
                <a:cs typeface="Helvetica Neue"/>
              </a:rPr>
              <a:t> </a:t>
            </a:r>
            <a:r>
              <a:rPr lang="it-IT" sz="1350" b="1" spc="120" dirty="0">
                <a:solidFill>
                  <a:srgbClr val="FFFFFF"/>
                </a:solidFill>
                <a:latin typeface="Helvetica Neue"/>
                <a:cs typeface="Helvetica Neue"/>
              </a:rPr>
              <a:t>E</a:t>
            </a:r>
            <a:r>
              <a:rPr lang="it-IT" sz="1350" b="1" spc="-85" dirty="0">
                <a:solidFill>
                  <a:srgbClr val="FFFFFF"/>
                </a:solidFill>
                <a:latin typeface="Helvetica Neue"/>
                <a:cs typeface="Helvetica Neue"/>
              </a:rPr>
              <a:t> </a:t>
            </a:r>
            <a:r>
              <a:rPr lang="it-IT" sz="1350" b="1" spc="475" dirty="0" err="1">
                <a:solidFill>
                  <a:srgbClr val="FFFFFF"/>
                </a:solidFill>
                <a:latin typeface="Helvetica Neue"/>
                <a:cs typeface="Helvetica Neue"/>
              </a:rPr>
              <a:t>R</a:t>
            </a:r>
            <a:r>
              <a:rPr lang="it-IT" sz="1350" b="1" spc="-90" dirty="0">
                <a:solidFill>
                  <a:srgbClr val="FFFFFF"/>
                </a:solidFill>
                <a:latin typeface="Helvetica Neue"/>
                <a:cs typeface="Helvetica Neue"/>
              </a:rPr>
              <a:t> </a:t>
            </a:r>
            <a:r>
              <a:rPr lang="it-IT" sz="1350" b="1" spc="60" dirty="0">
                <a:solidFill>
                  <a:srgbClr val="FFFFFF"/>
                </a:solidFill>
                <a:latin typeface="Helvetica Neue"/>
                <a:cs typeface="Helvetica Neue"/>
              </a:rPr>
              <a:t>I</a:t>
            </a:r>
            <a:r>
              <a:rPr lang="it-IT" sz="1350" b="1" spc="-85" dirty="0">
                <a:solidFill>
                  <a:srgbClr val="FFFFFF"/>
                </a:solidFill>
                <a:latin typeface="Helvetica Neue"/>
                <a:cs typeface="Helvetica Neue"/>
              </a:rPr>
              <a:t> </a:t>
            </a:r>
            <a:r>
              <a:rPr lang="it-IT" sz="1350" b="1" spc="120" dirty="0">
                <a:solidFill>
                  <a:srgbClr val="FFFFFF"/>
                </a:solidFill>
                <a:latin typeface="Helvetica Neue"/>
                <a:cs typeface="Helvetica Neue"/>
              </a:rPr>
              <a:t>E</a:t>
            </a:r>
            <a:r>
              <a:rPr lang="it-IT" sz="1350" b="1" spc="-90" dirty="0">
                <a:solidFill>
                  <a:srgbClr val="FFFFFF"/>
                </a:solidFill>
                <a:latin typeface="Helvetica Neue"/>
                <a:cs typeface="Helvetica Neue"/>
              </a:rPr>
              <a:t> </a:t>
            </a:r>
            <a:r>
              <a:rPr lang="it-IT" sz="1350" b="1" spc="225" dirty="0" err="1">
                <a:solidFill>
                  <a:srgbClr val="FFFFFF"/>
                </a:solidFill>
                <a:latin typeface="Helvetica Neue"/>
                <a:cs typeface="Helvetica Neue"/>
              </a:rPr>
              <a:t>N</a:t>
            </a:r>
            <a:r>
              <a:rPr lang="it-IT" sz="1350" b="1" spc="-85" dirty="0">
                <a:solidFill>
                  <a:srgbClr val="FFFFFF"/>
                </a:solidFill>
                <a:latin typeface="Helvetica Neue"/>
                <a:cs typeface="Helvetica Neue"/>
              </a:rPr>
              <a:t> </a:t>
            </a:r>
            <a:r>
              <a:rPr lang="it-IT" sz="1350" b="1" spc="250" dirty="0">
                <a:solidFill>
                  <a:srgbClr val="FFFFFF"/>
                </a:solidFill>
                <a:latin typeface="Helvetica Neue"/>
                <a:cs typeface="Helvetica Neue"/>
              </a:rPr>
              <a:t>C</a:t>
            </a:r>
            <a:r>
              <a:rPr lang="it-IT" sz="1350" b="1" spc="-90" dirty="0">
                <a:solidFill>
                  <a:srgbClr val="FFFFFF"/>
                </a:solidFill>
                <a:latin typeface="Helvetica Neue"/>
                <a:cs typeface="Helvetica Neue"/>
              </a:rPr>
              <a:t> </a:t>
            </a:r>
            <a:r>
              <a:rPr lang="it-IT" sz="1350" b="1" spc="120" dirty="0">
                <a:solidFill>
                  <a:srgbClr val="FFFFFF"/>
                </a:solidFill>
                <a:latin typeface="Helvetica Neue"/>
                <a:cs typeface="Helvetica Neue"/>
              </a:rPr>
              <a:t>E</a:t>
            </a:r>
            <a:endParaRPr lang="it-IT" sz="1350" dirty="0">
              <a:latin typeface="Helvetica Neue"/>
              <a:cs typeface="Helvetica Neue"/>
            </a:endParaRPr>
          </a:p>
        </p:txBody>
      </p:sp>
      <p:sp>
        <p:nvSpPr>
          <p:cNvPr id="10" name="object 16">
            <a:extLst>
              <a:ext uri="{FF2B5EF4-FFF2-40B4-BE49-F238E27FC236}">
                <a16:creationId xmlns:a16="http://schemas.microsoft.com/office/drawing/2014/main" id="{557ACBE9-A716-5EA9-B480-06A502C01676}"/>
              </a:ext>
            </a:extLst>
          </p:cNvPr>
          <p:cNvSpPr txBox="1"/>
          <p:nvPr userDrawn="1"/>
        </p:nvSpPr>
        <p:spPr>
          <a:xfrm>
            <a:off x="10147300" y="10320338"/>
            <a:ext cx="2946400" cy="503237"/>
          </a:xfrm>
          <a:prstGeom prst="rect">
            <a:avLst/>
          </a:prstGeom>
          <a:solidFill>
            <a:srgbClr val="B3B1B5">
              <a:alpha val="94902"/>
            </a:srgbClr>
          </a:solidFill>
        </p:spPr>
        <p:txBody>
          <a:bodyPr lIns="0" tIns="129539" rIns="0" bIns="0">
            <a:spAutoFit/>
          </a:bodyPr>
          <a:lstStyle/>
          <a:p>
            <a:pPr algn="ctr" eaLnBrk="1" fontAlgn="auto" hangingPunct="1">
              <a:spcBef>
                <a:spcPts val="1019"/>
              </a:spcBef>
              <a:spcAft>
                <a:spcPts val="0"/>
              </a:spcAft>
              <a:defRPr/>
            </a:pPr>
            <a:r>
              <a:rPr lang="it-IT" sz="1350" b="1" spc="30" dirty="0">
                <a:solidFill>
                  <a:srgbClr val="FFFFFF"/>
                </a:solidFill>
                <a:latin typeface="Helvetica Neue"/>
                <a:cs typeface="Helvetica Neue"/>
              </a:rPr>
              <a:t>M</a:t>
            </a:r>
            <a:r>
              <a:rPr lang="it-IT" sz="1350" b="1" spc="-95" dirty="0">
                <a:solidFill>
                  <a:srgbClr val="FFFFFF"/>
                </a:solidFill>
                <a:latin typeface="Helvetica Neue"/>
                <a:cs typeface="Helvetica Neue"/>
              </a:rPr>
              <a:t> </a:t>
            </a:r>
            <a:r>
              <a:rPr lang="it-IT" sz="1350" b="1" spc="250" dirty="0">
                <a:solidFill>
                  <a:srgbClr val="FFFFFF"/>
                </a:solidFill>
                <a:latin typeface="Helvetica Neue"/>
                <a:cs typeface="Helvetica Neue"/>
              </a:rPr>
              <a:t>O</a:t>
            </a:r>
            <a:r>
              <a:rPr lang="it-IT" sz="1350" b="1" spc="-95" dirty="0">
                <a:solidFill>
                  <a:srgbClr val="FFFFFF"/>
                </a:solidFill>
                <a:latin typeface="Helvetica Neue"/>
                <a:cs typeface="Helvetica Neue"/>
              </a:rPr>
              <a:t> </a:t>
            </a:r>
            <a:r>
              <a:rPr lang="it-IT" sz="1350" b="1" spc="170" dirty="0">
                <a:solidFill>
                  <a:srgbClr val="FFFFFF"/>
                </a:solidFill>
                <a:latin typeface="Helvetica Neue"/>
                <a:cs typeface="Helvetica Neue"/>
              </a:rPr>
              <a:t>V</a:t>
            </a:r>
            <a:r>
              <a:rPr lang="it-IT" sz="1350" b="1" spc="-90" dirty="0">
                <a:solidFill>
                  <a:srgbClr val="FFFFFF"/>
                </a:solidFill>
                <a:latin typeface="Helvetica Neue"/>
                <a:cs typeface="Helvetica Neue"/>
              </a:rPr>
              <a:t> </a:t>
            </a:r>
            <a:r>
              <a:rPr lang="it-IT" sz="1350" b="1" spc="60" dirty="0">
                <a:solidFill>
                  <a:srgbClr val="FFFFFF"/>
                </a:solidFill>
                <a:latin typeface="Helvetica Neue"/>
                <a:cs typeface="Helvetica Neue"/>
              </a:rPr>
              <a:t>I</a:t>
            </a:r>
            <a:r>
              <a:rPr lang="it-IT" sz="1350" b="1" spc="-95" dirty="0">
                <a:solidFill>
                  <a:srgbClr val="FFFFFF"/>
                </a:solidFill>
                <a:latin typeface="Helvetica Neue"/>
                <a:cs typeface="Helvetica Neue"/>
              </a:rPr>
              <a:t> </a:t>
            </a:r>
            <a:r>
              <a:rPr lang="it-IT" sz="1350" b="1" spc="225" dirty="0" err="1">
                <a:solidFill>
                  <a:srgbClr val="FFFFFF"/>
                </a:solidFill>
                <a:latin typeface="Helvetica Neue"/>
                <a:cs typeface="Helvetica Neue"/>
              </a:rPr>
              <a:t>N</a:t>
            </a:r>
            <a:r>
              <a:rPr lang="it-IT" sz="1350" b="1" spc="-90" dirty="0">
                <a:solidFill>
                  <a:srgbClr val="FFFFFF"/>
                </a:solidFill>
                <a:latin typeface="Helvetica Neue"/>
                <a:cs typeface="Helvetica Neue"/>
              </a:rPr>
              <a:t> </a:t>
            </a:r>
            <a:r>
              <a:rPr lang="it-IT" sz="1350" b="1" spc="225" dirty="0">
                <a:solidFill>
                  <a:srgbClr val="FFFFFF"/>
                </a:solidFill>
                <a:latin typeface="Helvetica Neue"/>
                <a:cs typeface="Helvetica Neue"/>
              </a:rPr>
              <a:t>G</a:t>
            </a:r>
            <a:endParaRPr lang="it-IT" sz="1350" dirty="0">
              <a:latin typeface="Helvetica Neue"/>
              <a:cs typeface="Helvetica Neue"/>
            </a:endParaRPr>
          </a:p>
        </p:txBody>
      </p:sp>
      <p:sp>
        <p:nvSpPr>
          <p:cNvPr id="11" name="object 18">
            <a:extLst>
              <a:ext uri="{FF2B5EF4-FFF2-40B4-BE49-F238E27FC236}">
                <a16:creationId xmlns:a16="http://schemas.microsoft.com/office/drawing/2014/main" id="{CC487DA1-39D8-53A6-D177-4D8126C919FA}"/>
              </a:ext>
            </a:extLst>
          </p:cNvPr>
          <p:cNvSpPr txBox="1"/>
          <p:nvPr userDrawn="1"/>
        </p:nvSpPr>
        <p:spPr>
          <a:xfrm>
            <a:off x="16384588" y="10320338"/>
            <a:ext cx="2947987" cy="503237"/>
          </a:xfrm>
          <a:prstGeom prst="rect">
            <a:avLst/>
          </a:prstGeom>
          <a:solidFill>
            <a:srgbClr val="B3B1B5">
              <a:alpha val="94902"/>
            </a:srgbClr>
          </a:solidFill>
        </p:spPr>
        <p:txBody>
          <a:bodyPr lIns="0" tIns="129539" rIns="0" bIns="0">
            <a:spAutoFit/>
          </a:bodyPr>
          <a:lstStyle/>
          <a:p>
            <a:pPr algn="ctr" eaLnBrk="1" fontAlgn="auto" hangingPunct="1">
              <a:spcBef>
                <a:spcPts val="1019"/>
              </a:spcBef>
              <a:spcAft>
                <a:spcPts val="0"/>
              </a:spcAft>
              <a:defRPr/>
            </a:pPr>
            <a:r>
              <a:rPr lang="it-IT" sz="1350" b="1" spc="150" dirty="0">
                <a:solidFill>
                  <a:srgbClr val="FFFFFF"/>
                </a:solidFill>
                <a:latin typeface="Helvetica Neue"/>
                <a:cs typeface="Helvetica Neue"/>
              </a:rPr>
              <a:t>B</a:t>
            </a:r>
            <a:r>
              <a:rPr lang="it-IT" sz="1350" b="1" spc="-80" dirty="0">
                <a:solidFill>
                  <a:srgbClr val="FFFFFF"/>
                </a:solidFill>
                <a:latin typeface="Helvetica Neue"/>
                <a:cs typeface="Helvetica Neue"/>
              </a:rPr>
              <a:t> </a:t>
            </a:r>
            <a:r>
              <a:rPr lang="it-IT" sz="1350" b="1" spc="175" dirty="0">
                <a:solidFill>
                  <a:srgbClr val="FFFFFF"/>
                </a:solidFill>
                <a:latin typeface="Helvetica Neue"/>
                <a:cs typeface="Helvetica Neue"/>
              </a:rPr>
              <a:t>A</a:t>
            </a:r>
            <a:r>
              <a:rPr lang="it-IT" sz="1350" b="1" spc="-80" dirty="0">
                <a:solidFill>
                  <a:srgbClr val="FFFFFF"/>
                </a:solidFill>
                <a:latin typeface="Helvetica Neue"/>
                <a:cs typeface="Helvetica Neue"/>
              </a:rPr>
              <a:t> </a:t>
            </a:r>
            <a:r>
              <a:rPr lang="it-IT" sz="1350" b="1" spc="175" dirty="0" err="1">
                <a:solidFill>
                  <a:srgbClr val="FFFFFF"/>
                </a:solidFill>
                <a:latin typeface="Helvetica Neue"/>
                <a:cs typeface="Helvetica Neue"/>
              </a:rPr>
              <a:t>S</a:t>
            </a:r>
            <a:r>
              <a:rPr lang="it-IT" sz="1350" b="1" spc="-80" dirty="0">
                <a:solidFill>
                  <a:srgbClr val="FFFFFF"/>
                </a:solidFill>
                <a:latin typeface="Helvetica Neue"/>
                <a:cs typeface="Helvetica Neue"/>
              </a:rPr>
              <a:t> </a:t>
            </a:r>
            <a:r>
              <a:rPr lang="it-IT" sz="1350" b="1" spc="60" dirty="0">
                <a:solidFill>
                  <a:srgbClr val="FFFFFF"/>
                </a:solidFill>
                <a:latin typeface="Helvetica Neue"/>
                <a:cs typeface="Helvetica Neue"/>
              </a:rPr>
              <a:t>I</a:t>
            </a:r>
            <a:r>
              <a:rPr lang="it-IT" sz="1350" b="1" spc="-80" dirty="0">
                <a:solidFill>
                  <a:srgbClr val="FFFFFF"/>
                </a:solidFill>
                <a:latin typeface="Helvetica Neue"/>
                <a:cs typeface="Helvetica Neue"/>
              </a:rPr>
              <a:t> </a:t>
            </a:r>
            <a:r>
              <a:rPr lang="it-IT" sz="1350" b="1" spc="250" dirty="0">
                <a:solidFill>
                  <a:srgbClr val="FFFFFF"/>
                </a:solidFill>
                <a:latin typeface="Helvetica Neue"/>
                <a:cs typeface="Helvetica Neue"/>
              </a:rPr>
              <a:t>C</a:t>
            </a:r>
            <a:endParaRPr lang="it-IT" sz="1350" dirty="0">
              <a:latin typeface="Helvetica Neue"/>
              <a:cs typeface="Helvetica Neue"/>
            </a:endParaRPr>
          </a:p>
        </p:txBody>
      </p:sp>
      <p:sp>
        <p:nvSpPr>
          <p:cNvPr id="12" name="object 20">
            <a:extLst>
              <a:ext uri="{FF2B5EF4-FFF2-40B4-BE49-F238E27FC236}">
                <a16:creationId xmlns:a16="http://schemas.microsoft.com/office/drawing/2014/main" id="{96EE8C39-32C1-4023-2D9F-72569BBE29E5}"/>
              </a:ext>
            </a:extLst>
          </p:cNvPr>
          <p:cNvSpPr txBox="1"/>
          <p:nvPr userDrawn="1"/>
        </p:nvSpPr>
        <p:spPr>
          <a:xfrm>
            <a:off x="13265150" y="10320338"/>
            <a:ext cx="2947988" cy="503237"/>
          </a:xfrm>
          <a:prstGeom prst="rect">
            <a:avLst/>
          </a:prstGeom>
          <a:solidFill>
            <a:srgbClr val="B3B1B5">
              <a:alpha val="94902"/>
            </a:srgbClr>
          </a:solidFill>
        </p:spPr>
        <p:txBody>
          <a:bodyPr lIns="0" tIns="129539" rIns="0" bIns="0">
            <a:spAutoFit/>
          </a:bodyPr>
          <a:lstStyle/>
          <a:p>
            <a:pPr algn="ctr" eaLnBrk="1" fontAlgn="auto" hangingPunct="1">
              <a:spcBef>
                <a:spcPts val="1019"/>
              </a:spcBef>
              <a:spcAft>
                <a:spcPts val="0"/>
              </a:spcAft>
              <a:defRPr/>
            </a:pPr>
            <a:r>
              <a:rPr lang="it-IT" sz="1350" b="1" spc="175" dirty="0">
                <a:solidFill>
                  <a:srgbClr val="FFFFFF"/>
                </a:solidFill>
                <a:latin typeface="Helvetica Neue"/>
                <a:cs typeface="Helvetica Neue"/>
              </a:rPr>
              <a:t>A</a:t>
            </a:r>
            <a:r>
              <a:rPr lang="it-IT" sz="1350" b="1" spc="-95" dirty="0">
                <a:solidFill>
                  <a:srgbClr val="FFFFFF"/>
                </a:solidFill>
                <a:latin typeface="Helvetica Neue"/>
                <a:cs typeface="Helvetica Neue"/>
              </a:rPr>
              <a:t> </a:t>
            </a:r>
            <a:r>
              <a:rPr lang="it-IT" sz="1350" b="1" spc="250" dirty="0">
                <a:solidFill>
                  <a:srgbClr val="FFFFFF"/>
                </a:solidFill>
                <a:latin typeface="Helvetica Neue"/>
                <a:cs typeface="Helvetica Neue"/>
              </a:rPr>
              <a:t>C</a:t>
            </a:r>
            <a:r>
              <a:rPr lang="it-IT" sz="1350" b="1" spc="-95" dirty="0">
                <a:solidFill>
                  <a:srgbClr val="FFFFFF"/>
                </a:solidFill>
                <a:latin typeface="Helvetica Neue"/>
                <a:cs typeface="Helvetica Neue"/>
              </a:rPr>
              <a:t> </a:t>
            </a:r>
            <a:r>
              <a:rPr lang="it-IT" sz="1350" b="1" spc="370" dirty="0">
                <a:solidFill>
                  <a:srgbClr val="FFFFFF"/>
                </a:solidFill>
                <a:latin typeface="Helvetica Neue"/>
                <a:cs typeface="Helvetica Neue"/>
              </a:rPr>
              <a:t>T</a:t>
            </a:r>
            <a:r>
              <a:rPr lang="it-IT" sz="1350" b="1" spc="-95" dirty="0">
                <a:solidFill>
                  <a:srgbClr val="FFFFFF"/>
                </a:solidFill>
                <a:latin typeface="Helvetica Neue"/>
                <a:cs typeface="Helvetica Neue"/>
              </a:rPr>
              <a:t> </a:t>
            </a:r>
            <a:r>
              <a:rPr lang="it-IT" sz="1350" b="1" spc="60" dirty="0">
                <a:solidFill>
                  <a:srgbClr val="FFFFFF"/>
                </a:solidFill>
                <a:latin typeface="Helvetica Neue"/>
                <a:cs typeface="Helvetica Neue"/>
              </a:rPr>
              <a:t>I</a:t>
            </a:r>
            <a:r>
              <a:rPr lang="it-IT" sz="1350" b="1" spc="-90" dirty="0">
                <a:solidFill>
                  <a:srgbClr val="FFFFFF"/>
                </a:solidFill>
                <a:latin typeface="Helvetica Neue"/>
                <a:cs typeface="Helvetica Neue"/>
              </a:rPr>
              <a:t> </a:t>
            </a:r>
            <a:r>
              <a:rPr lang="it-IT" sz="1350" b="1" spc="170" dirty="0">
                <a:solidFill>
                  <a:srgbClr val="FFFFFF"/>
                </a:solidFill>
                <a:latin typeface="Helvetica Neue"/>
                <a:cs typeface="Helvetica Neue"/>
              </a:rPr>
              <a:t>V</a:t>
            </a:r>
            <a:r>
              <a:rPr lang="it-IT" sz="1350" b="1" spc="-95" dirty="0">
                <a:solidFill>
                  <a:srgbClr val="FFFFFF"/>
                </a:solidFill>
                <a:latin typeface="Helvetica Neue"/>
                <a:cs typeface="Helvetica Neue"/>
              </a:rPr>
              <a:t> </a:t>
            </a:r>
            <a:r>
              <a:rPr lang="it-IT" sz="1350" b="1" spc="120" dirty="0">
                <a:solidFill>
                  <a:srgbClr val="FFFFFF"/>
                </a:solidFill>
                <a:latin typeface="Helvetica Neue"/>
                <a:cs typeface="Helvetica Neue"/>
              </a:rPr>
              <a:t>E</a:t>
            </a:r>
            <a:endParaRPr lang="it-IT" sz="1350" dirty="0">
              <a:latin typeface="Helvetica Neue"/>
              <a:cs typeface="Helvetica Neue"/>
            </a:endParaRPr>
          </a:p>
        </p:txBody>
      </p:sp>
      <p:sp>
        <p:nvSpPr>
          <p:cNvPr id="13" name="object 26">
            <a:extLst>
              <a:ext uri="{FF2B5EF4-FFF2-40B4-BE49-F238E27FC236}">
                <a16:creationId xmlns:a16="http://schemas.microsoft.com/office/drawing/2014/main" id="{1B43E4CC-8ED8-4C28-A020-343AEA5EF477}"/>
              </a:ext>
            </a:extLst>
          </p:cNvPr>
          <p:cNvSpPr>
            <a:spLocks/>
          </p:cNvSpPr>
          <p:nvPr userDrawn="1"/>
        </p:nvSpPr>
        <p:spPr bwMode="auto">
          <a:xfrm>
            <a:off x="1892300" y="6251575"/>
            <a:ext cx="739775" cy="739775"/>
          </a:xfrm>
          <a:custGeom>
            <a:avLst/>
            <a:gdLst>
              <a:gd name="T0" fmla="*/ 369831 w 739775"/>
              <a:gd name="T1" fmla="*/ 0 h 739775"/>
              <a:gd name="T2" fmla="*/ 323440 w 739775"/>
              <a:gd name="T3" fmla="*/ 2881 h 739775"/>
              <a:gd name="T4" fmla="*/ 278768 w 739775"/>
              <a:gd name="T5" fmla="*/ 11295 h 739775"/>
              <a:gd name="T6" fmla="*/ 236163 w 739775"/>
              <a:gd name="T7" fmla="*/ 24894 h 739775"/>
              <a:gd name="T8" fmla="*/ 195970 w 739775"/>
              <a:gd name="T9" fmla="*/ 43333 h 739775"/>
              <a:gd name="T10" fmla="*/ 158537 w 739775"/>
              <a:gd name="T11" fmla="*/ 66263 h 739775"/>
              <a:gd name="T12" fmla="*/ 124210 w 739775"/>
              <a:gd name="T13" fmla="*/ 93339 h 739775"/>
              <a:gd name="T14" fmla="*/ 93335 w 739775"/>
              <a:gd name="T15" fmla="*/ 124214 h 739775"/>
              <a:gd name="T16" fmla="*/ 66260 w 739775"/>
              <a:gd name="T17" fmla="*/ 158542 h 739775"/>
              <a:gd name="T18" fmla="*/ 43330 w 739775"/>
              <a:gd name="T19" fmla="*/ 195975 h 739775"/>
              <a:gd name="T20" fmla="*/ 24893 w 739775"/>
              <a:gd name="T21" fmla="*/ 236167 h 739775"/>
              <a:gd name="T22" fmla="*/ 11294 w 739775"/>
              <a:gd name="T23" fmla="*/ 278771 h 739775"/>
              <a:gd name="T24" fmla="*/ 2881 w 739775"/>
              <a:gd name="T25" fmla="*/ 323442 h 739775"/>
              <a:gd name="T26" fmla="*/ 0 w 739775"/>
              <a:gd name="T27" fmla="*/ 369831 h 739775"/>
              <a:gd name="T28" fmla="*/ 2881 w 739775"/>
              <a:gd name="T29" fmla="*/ 416223 h 739775"/>
              <a:gd name="T30" fmla="*/ 11294 w 739775"/>
              <a:gd name="T31" fmla="*/ 460894 h 739775"/>
              <a:gd name="T32" fmla="*/ 24893 w 739775"/>
              <a:gd name="T33" fmla="*/ 503500 h 739775"/>
              <a:gd name="T34" fmla="*/ 43330 w 739775"/>
              <a:gd name="T35" fmla="*/ 543692 h 739775"/>
              <a:gd name="T36" fmla="*/ 66260 w 739775"/>
              <a:gd name="T37" fmla="*/ 581125 h 739775"/>
              <a:gd name="T38" fmla="*/ 93335 w 739775"/>
              <a:gd name="T39" fmla="*/ 615452 h 739775"/>
              <a:gd name="T40" fmla="*/ 124210 w 739775"/>
              <a:gd name="T41" fmla="*/ 646327 h 739775"/>
              <a:gd name="T42" fmla="*/ 158537 w 739775"/>
              <a:gd name="T43" fmla="*/ 673402 h 739775"/>
              <a:gd name="T44" fmla="*/ 195970 w 739775"/>
              <a:gd name="T45" fmla="*/ 696332 h 739775"/>
              <a:gd name="T46" fmla="*/ 236163 w 739775"/>
              <a:gd name="T47" fmla="*/ 714769 h 739775"/>
              <a:gd name="T48" fmla="*/ 278768 w 739775"/>
              <a:gd name="T49" fmla="*/ 728368 h 739775"/>
              <a:gd name="T50" fmla="*/ 323440 w 739775"/>
              <a:gd name="T51" fmla="*/ 736781 h 739775"/>
              <a:gd name="T52" fmla="*/ 369831 w 739775"/>
              <a:gd name="T53" fmla="*/ 739663 h 739775"/>
              <a:gd name="T54" fmla="*/ 416223 w 739775"/>
              <a:gd name="T55" fmla="*/ 736781 h 739775"/>
              <a:gd name="T56" fmla="*/ 460894 w 739775"/>
              <a:gd name="T57" fmla="*/ 728368 h 739775"/>
              <a:gd name="T58" fmla="*/ 503500 w 739775"/>
              <a:gd name="T59" fmla="*/ 714769 h 739775"/>
              <a:gd name="T60" fmla="*/ 543692 w 739775"/>
              <a:gd name="T61" fmla="*/ 696332 h 739775"/>
              <a:gd name="T62" fmla="*/ 581125 w 739775"/>
              <a:gd name="T63" fmla="*/ 673402 h 739775"/>
              <a:gd name="T64" fmla="*/ 615452 w 739775"/>
              <a:gd name="T65" fmla="*/ 646327 h 739775"/>
              <a:gd name="T66" fmla="*/ 646327 w 739775"/>
              <a:gd name="T67" fmla="*/ 615452 h 739775"/>
              <a:gd name="T68" fmla="*/ 673402 w 739775"/>
              <a:gd name="T69" fmla="*/ 581125 h 739775"/>
              <a:gd name="T70" fmla="*/ 696332 w 739775"/>
              <a:gd name="T71" fmla="*/ 543692 h 739775"/>
              <a:gd name="T72" fmla="*/ 714769 w 739775"/>
              <a:gd name="T73" fmla="*/ 503500 h 739775"/>
              <a:gd name="T74" fmla="*/ 728368 w 739775"/>
              <a:gd name="T75" fmla="*/ 460894 h 739775"/>
              <a:gd name="T76" fmla="*/ 736781 w 739775"/>
              <a:gd name="T77" fmla="*/ 416223 h 739775"/>
              <a:gd name="T78" fmla="*/ 739663 w 739775"/>
              <a:gd name="T79" fmla="*/ 369831 h 739775"/>
              <a:gd name="T80" fmla="*/ 736781 w 739775"/>
              <a:gd name="T81" fmla="*/ 323442 h 739775"/>
              <a:gd name="T82" fmla="*/ 728368 w 739775"/>
              <a:gd name="T83" fmla="*/ 278771 h 739775"/>
              <a:gd name="T84" fmla="*/ 714769 w 739775"/>
              <a:gd name="T85" fmla="*/ 236167 h 739775"/>
              <a:gd name="T86" fmla="*/ 696332 w 739775"/>
              <a:gd name="T87" fmla="*/ 195975 h 739775"/>
              <a:gd name="T88" fmla="*/ 673402 w 739775"/>
              <a:gd name="T89" fmla="*/ 158542 h 739775"/>
              <a:gd name="T90" fmla="*/ 646327 w 739775"/>
              <a:gd name="T91" fmla="*/ 124214 h 739775"/>
              <a:gd name="T92" fmla="*/ 615452 w 739775"/>
              <a:gd name="T93" fmla="*/ 93339 h 739775"/>
              <a:gd name="T94" fmla="*/ 581125 w 739775"/>
              <a:gd name="T95" fmla="*/ 66263 h 739775"/>
              <a:gd name="T96" fmla="*/ 543692 w 739775"/>
              <a:gd name="T97" fmla="*/ 43333 h 739775"/>
              <a:gd name="T98" fmla="*/ 503500 w 739775"/>
              <a:gd name="T99" fmla="*/ 24894 h 739775"/>
              <a:gd name="T100" fmla="*/ 460894 w 739775"/>
              <a:gd name="T101" fmla="*/ 11295 h 739775"/>
              <a:gd name="T102" fmla="*/ 416223 w 739775"/>
              <a:gd name="T103" fmla="*/ 2881 h 739775"/>
              <a:gd name="T104" fmla="*/ 369831 w 739775"/>
              <a:gd name="T105" fmla="*/ 0 h 7397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739775" h="739775">
                <a:moveTo>
                  <a:pt x="369831" y="0"/>
                </a:moveTo>
                <a:lnTo>
                  <a:pt x="323440" y="2881"/>
                </a:lnTo>
                <a:lnTo>
                  <a:pt x="278768" y="11295"/>
                </a:lnTo>
                <a:lnTo>
                  <a:pt x="236163" y="24894"/>
                </a:lnTo>
                <a:lnTo>
                  <a:pt x="195970" y="43333"/>
                </a:lnTo>
                <a:lnTo>
                  <a:pt x="158537" y="66263"/>
                </a:lnTo>
                <a:lnTo>
                  <a:pt x="124210" y="93339"/>
                </a:lnTo>
                <a:lnTo>
                  <a:pt x="93335" y="124214"/>
                </a:lnTo>
                <a:lnTo>
                  <a:pt x="66260" y="158542"/>
                </a:lnTo>
                <a:lnTo>
                  <a:pt x="43330" y="195975"/>
                </a:lnTo>
                <a:lnTo>
                  <a:pt x="24893" y="236167"/>
                </a:lnTo>
                <a:lnTo>
                  <a:pt x="11294" y="278771"/>
                </a:lnTo>
                <a:lnTo>
                  <a:pt x="2881" y="323442"/>
                </a:lnTo>
                <a:lnTo>
                  <a:pt x="0" y="369831"/>
                </a:lnTo>
                <a:lnTo>
                  <a:pt x="2881" y="416223"/>
                </a:lnTo>
                <a:lnTo>
                  <a:pt x="11294" y="460894"/>
                </a:lnTo>
                <a:lnTo>
                  <a:pt x="24893" y="503500"/>
                </a:lnTo>
                <a:lnTo>
                  <a:pt x="43330" y="543692"/>
                </a:lnTo>
                <a:lnTo>
                  <a:pt x="66260" y="581125"/>
                </a:lnTo>
                <a:lnTo>
                  <a:pt x="93335" y="615452"/>
                </a:lnTo>
                <a:lnTo>
                  <a:pt x="124210" y="646327"/>
                </a:lnTo>
                <a:lnTo>
                  <a:pt x="158537" y="673402"/>
                </a:lnTo>
                <a:lnTo>
                  <a:pt x="195970" y="696332"/>
                </a:lnTo>
                <a:lnTo>
                  <a:pt x="236163" y="714769"/>
                </a:lnTo>
                <a:lnTo>
                  <a:pt x="278768" y="728368"/>
                </a:lnTo>
                <a:lnTo>
                  <a:pt x="323440" y="736781"/>
                </a:lnTo>
                <a:lnTo>
                  <a:pt x="369831" y="739663"/>
                </a:lnTo>
                <a:lnTo>
                  <a:pt x="416223" y="736781"/>
                </a:lnTo>
                <a:lnTo>
                  <a:pt x="460894" y="728368"/>
                </a:lnTo>
                <a:lnTo>
                  <a:pt x="503500" y="714769"/>
                </a:lnTo>
                <a:lnTo>
                  <a:pt x="543692" y="696332"/>
                </a:lnTo>
                <a:lnTo>
                  <a:pt x="581125" y="673402"/>
                </a:lnTo>
                <a:lnTo>
                  <a:pt x="615452" y="646327"/>
                </a:lnTo>
                <a:lnTo>
                  <a:pt x="646327" y="615452"/>
                </a:lnTo>
                <a:lnTo>
                  <a:pt x="673402" y="581125"/>
                </a:lnTo>
                <a:lnTo>
                  <a:pt x="696332" y="543692"/>
                </a:lnTo>
                <a:lnTo>
                  <a:pt x="714769" y="503500"/>
                </a:lnTo>
                <a:lnTo>
                  <a:pt x="728368" y="460894"/>
                </a:lnTo>
                <a:lnTo>
                  <a:pt x="736781" y="416223"/>
                </a:lnTo>
                <a:lnTo>
                  <a:pt x="739663" y="369831"/>
                </a:lnTo>
                <a:lnTo>
                  <a:pt x="736781" y="323442"/>
                </a:lnTo>
                <a:lnTo>
                  <a:pt x="728368" y="278771"/>
                </a:lnTo>
                <a:lnTo>
                  <a:pt x="714769" y="236167"/>
                </a:lnTo>
                <a:lnTo>
                  <a:pt x="696332" y="195975"/>
                </a:lnTo>
                <a:lnTo>
                  <a:pt x="673402" y="158542"/>
                </a:lnTo>
                <a:lnTo>
                  <a:pt x="646327" y="124214"/>
                </a:lnTo>
                <a:lnTo>
                  <a:pt x="615452" y="93339"/>
                </a:lnTo>
                <a:lnTo>
                  <a:pt x="581125" y="66263"/>
                </a:lnTo>
                <a:lnTo>
                  <a:pt x="543692" y="43333"/>
                </a:lnTo>
                <a:lnTo>
                  <a:pt x="503500" y="24894"/>
                </a:lnTo>
                <a:lnTo>
                  <a:pt x="460894" y="11295"/>
                </a:lnTo>
                <a:lnTo>
                  <a:pt x="416223" y="2881"/>
                </a:lnTo>
                <a:lnTo>
                  <a:pt x="369831" y="0"/>
                </a:lnTo>
                <a:close/>
              </a:path>
            </a:pathLst>
          </a:custGeom>
          <a:solidFill>
            <a:srgbClr val="E5E5E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en-AU"/>
          </a:p>
        </p:txBody>
      </p:sp>
      <p:sp>
        <p:nvSpPr>
          <p:cNvPr id="14" name="object 27">
            <a:extLst>
              <a:ext uri="{FF2B5EF4-FFF2-40B4-BE49-F238E27FC236}">
                <a16:creationId xmlns:a16="http://schemas.microsoft.com/office/drawing/2014/main" id="{8FB3C361-3711-0622-F96C-ED46CB7D28ED}"/>
              </a:ext>
            </a:extLst>
          </p:cNvPr>
          <p:cNvSpPr txBox="1"/>
          <p:nvPr userDrawn="1"/>
        </p:nvSpPr>
        <p:spPr>
          <a:xfrm>
            <a:off x="2120900" y="6540500"/>
            <a:ext cx="276225" cy="176213"/>
          </a:xfrm>
          <a:prstGeom prst="rect">
            <a:avLst/>
          </a:prstGeom>
        </p:spPr>
        <p:txBody>
          <a:bodyPr lIns="0" tIns="15875" rIns="0" bIns="0">
            <a:spAutoFit/>
          </a:bodyPr>
          <a:lstStyle/>
          <a:p>
            <a:pPr marL="12700" eaLnBrk="1" fontAlgn="auto" hangingPunct="1">
              <a:spcBef>
                <a:spcPts val="125"/>
              </a:spcBef>
              <a:spcAft>
                <a:spcPts val="0"/>
              </a:spcAft>
              <a:defRPr/>
            </a:pPr>
            <a:r>
              <a:rPr lang="it-IT" sz="1050" b="1" spc="25" dirty="0">
                <a:latin typeface="Helvetica Neue"/>
                <a:cs typeface="Helvetica Neue"/>
              </a:rPr>
              <a:t>M</a:t>
            </a:r>
            <a:r>
              <a:rPr lang="it-IT" sz="1050" b="1" spc="-65" dirty="0">
                <a:latin typeface="Helvetica Neue"/>
                <a:cs typeface="Helvetica Neue"/>
              </a:rPr>
              <a:t> </a:t>
            </a:r>
            <a:r>
              <a:rPr lang="it-IT" sz="1050" b="1" spc="114" dirty="0">
                <a:latin typeface="Helvetica Neue"/>
                <a:cs typeface="Helvetica Neue"/>
              </a:rPr>
              <a:t>B</a:t>
            </a:r>
            <a:endParaRPr lang="it-IT" sz="1050" dirty="0">
              <a:latin typeface="Helvetica Neue"/>
              <a:cs typeface="Helvetica Neue"/>
            </a:endParaRPr>
          </a:p>
        </p:txBody>
      </p:sp>
      <p:sp>
        <p:nvSpPr>
          <p:cNvPr id="15" name="object 28">
            <a:extLst>
              <a:ext uri="{FF2B5EF4-FFF2-40B4-BE49-F238E27FC236}">
                <a16:creationId xmlns:a16="http://schemas.microsoft.com/office/drawing/2014/main" id="{547A8AE3-DBF7-B34D-AD35-E40481148303}"/>
              </a:ext>
            </a:extLst>
          </p:cNvPr>
          <p:cNvSpPr>
            <a:spLocks/>
          </p:cNvSpPr>
          <p:nvPr userDrawn="1"/>
        </p:nvSpPr>
        <p:spPr bwMode="auto">
          <a:xfrm>
            <a:off x="7086600" y="6251575"/>
            <a:ext cx="739775" cy="739775"/>
          </a:xfrm>
          <a:custGeom>
            <a:avLst/>
            <a:gdLst>
              <a:gd name="T0" fmla="*/ 369831 w 739775"/>
              <a:gd name="T1" fmla="*/ 0 h 739775"/>
              <a:gd name="T2" fmla="*/ 323440 w 739775"/>
              <a:gd name="T3" fmla="*/ 2881 h 739775"/>
              <a:gd name="T4" fmla="*/ 278768 w 739775"/>
              <a:gd name="T5" fmla="*/ 11295 h 739775"/>
              <a:gd name="T6" fmla="*/ 236163 w 739775"/>
              <a:gd name="T7" fmla="*/ 24894 h 739775"/>
              <a:gd name="T8" fmla="*/ 195970 w 739775"/>
              <a:gd name="T9" fmla="*/ 43333 h 739775"/>
              <a:gd name="T10" fmla="*/ 158537 w 739775"/>
              <a:gd name="T11" fmla="*/ 66263 h 739775"/>
              <a:gd name="T12" fmla="*/ 124210 w 739775"/>
              <a:gd name="T13" fmla="*/ 93339 h 739775"/>
              <a:gd name="T14" fmla="*/ 93335 w 739775"/>
              <a:gd name="T15" fmla="*/ 124214 h 739775"/>
              <a:gd name="T16" fmla="*/ 66260 w 739775"/>
              <a:gd name="T17" fmla="*/ 158542 h 739775"/>
              <a:gd name="T18" fmla="*/ 43330 w 739775"/>
              <a:gd name="T19" fmla="*/ 195975 h 739775"/>
              <a:gd name="T20" fmla="*/ 24893 w 739775"/>
              <a:gd name="T21" fmla="*/ 236167 h 739775"/>
              <a:gd name="T22" fmla="*/ 11294 w 739775"/>
              <a:gd name="T23" fmla="*/ 278771 h 739775"/>
              <a:gd name="T24" fmla="*/ 2881 w 739775"/>
              <a:gd name="T25" fmla="*/ 323442 h 739775"/>
              <a:gd name="T26" fmla="*/ 0 w 739775"/>
              <a:gd name="T27" fmla="*/ 369831 h 739775"/>
              <a:gd name="T28" fmla="*/ 2881 w 739775"/>
              <a:gd name="T29" fmla="*/ 416223 h 739775"/>
              <a:gd name="T30" fmla="*/ 11294 w 739775"/>
              <a:gd name="T31" fmla="*/ 460894 h 739775"/>
              <a:gd name="T32" fmla="*/ 24893 w 739775"/>
              <a:gd name="T33" fmla="*/ 503500 h 739775"/>
              <a:gd name="T34" fmla="*/ 43330 w 739775"/>
              <a:gd name="T35" fmla="*/ 543692 h 739775"/>
              <a:gd name="T36" fmla="*/ 66260 w 739775"/>
              <a:gd name="T37" fmla="*/ 581125 h 739775"/>
              <a:gd name="T38" fmla="*/ 93335 w 739775"/>
              <a:gd name="T39" fmla="*/ 615452 h 739775"/>
              <a:gd name="T40" fmla="*/ 124210 w 739775"/>
              <a:gd name="T41" fmla="*/ 646327 h 739775"/>
              <a:gd name="T42" fmla="*/ 158537 w 739775"/>
              <a:gd name="T43" fmla="*/ 673402 h 739775"/>
              <a:gd name="T44" fmla="*/ 195970 w 739775"/>
              <a:gd name="T45" fmla="*/ 696332 h 739775"/>
              <a:gd name="T46" fmla="*/ 236163 w 739775"/>
              <a:gd name="T47" fmla="*/ 714769 h 739775"/>
              <a:gd name="T48" fmla="*/ 278768 w 739775"/>
              <a:gd name="T49" fmla="*/ 728368 h 739775"/>
              <a:gd name="T50" fmla="*/ 323440 w 739775"/>
              <a:gd name="T51" fmla="*/ 736781 h 739775"/>
              <a:gd name="T52" fmla="*/ 369831 w 739775"/>
              <a:gd name="T53" fmla="*/ 739663 h 739775"/>
              <a:gd name="T54" fmla="*/ 416223 w 739775"/>
              <a:gd name="T55" fmla="*/ 736781 h 739775"/>
              <a:gd name="T56" fmla="*/ 460894 w 739775"/>
              <a:gd name="T57" fmla="*/ 728368 h 739775"/>
              <a:gd name="T58" fmla="*/ 503500 w 739775"/>
              <a:gd name="T59" fmla="*/ 714769 h 739775"/>
              <a:gd name="T60" fmla="*/ 543692 w 739775"/>
              <a:gd name="T61" fmla="*/ 696332 h 739775"/>
              <a:gd name="T62" fmla="*/ 581125 w 739775"/>
              <a:gd name="T63" fmla="*/ 673402 h 739775"/>
              <a:gd name="T64" fmla="*/ 615452 w 739775"/>
              <a:gd name="T65" fmla="*/ 646327 h 739775"/>
              <a:gd name="T66" fmla="*/ 646327 w 739775"/>
              <a:gd name="T67" fmla="*/ 615452 h 739775"/>
              <a:gd name="T68" fmla="*/ 673402 w 739775"/>
              <a:gd name="T69" fmla="*/ 581125 h 739775"/>
              <a:gd name="T70" fmla="*/ 696332 w 739775"/>
              <a:gd name="T71" fmla="*/ 543692 h 739775"/>
              <a:gd name="T72" fmla="*/ 714769 w 739775"/>
              <a:gd name="T73" fmla="*/ 503500 h 739775"/>
              <a:gd name="T74" fmla="*/ 728368 w 739775"/>
              <a:gd name="T75" fmla="*/ 460894 h 739775"/>
              <a:gd name="T76" fmla="*/ 736781 w 739775"/>
              <a:gd name="T77" fmla="*/ 416223 h 739775"/>
              <a:gd name="T78" fmla="*/ 739663 w 739775"/>
              <a:gd name="T79" fmla="*/ 369831 h 739775"/>
              <a:gd name="T80" fmla="*/ 736781 w 739775"/>
              <a:gd name="T81" fmla="*/ 323442 h 739775"/>
              <a:gd name="T82" fmla="*/ 728368 w 739775"/>
              <a:gd name="T83" fmla="*/ 278771 h 739775"/>
              <a:gd name="T84" fmla="*/ 714769 w 739775"/>
              <a:gd name="T85" fmla="*/ 236167 h 739775"/>
              <a:gd name="T86" fmla="*/ 696332 w 739775"/>
              <a:gd name="T87" fmla="*/ 195975 h 739775"/>
              <a:gd name="T88" fmla="*/ 673402 w 739775"/>
              <a:gd name="T89" fmla="*/ 158542 h 739775"/>
              <a:gd name="T90" fmla="*/ 646327 w 739775"/>
              <a:gd name="T91" fmla="*/ 124214 h 739775"/>
              <a:gd name="T92" fmla="*/ 615452 w 739775"/>
              <a:gd name="T93" fmla="*/ 93339 h 739775"/>
              <a:gd name="T94" fmla="*/ 581125 w 739775"/>
              <a:gd name="T95" fmla="*/ 66263 h 739775"/>
              <a:gd name="T96" fmla="*/ 543692 w 739775"/>
              <a:gd name="T97" fmla="*/ 43333 h 739775"/>
              <a:gd name="T98" fmla="*/ 503500 w 739775"/>
              <a:gd name="T99" fmla="*/ 24894 h 739775"/>
              <a:gd name="T100" fmla="*/ 460894 w 739775"/>
              <a:gd name="T101" fmla="*/ 11295 h 739775"/>
              <a:gd name="T102" fmla="*/ 416223 w 739775"/>
              <a:gd name="T103" fmla="*/ 2881 h 739775"/>
              <a:gd name="T104" fmla="*/ 369831 w 739775"/>
              <a:gd name="T105" fmla="*/ 0 h 7397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739775" h="739775">
                <a:moveTo>
                  <a:pt x="369831" y="0"/>
                </a:moveTo>
                <a:lnTo>
                  <a:pt x="323440" y="2881"/>
                </a:lnTo>
                <a:lnTo>
                  <a:pt x="278768" y="11295"/>
                </a:lnTo>
                <a:lnTo>
                  <a:pt x="236163" y="24894"/>
                </a:lnTo>
                <a:lnTo>
                  <a:pt x="195970" y="43333"/>
                </a:lnTo>
                <a:lnTo>
                  <a:pt x="158537" y="66263"/>
                </a:lnTo>
                <a:lnTo>
                  <a:pt x="124210" y="93339"/>
                </a:lnTo>
                <a:lnTo>
                  <a:pt x="93335" y="124214"/>
                </a:lnTo>
                <a:lnTo>
                  <a:pt x="66260" y="158542"/>
                </a:lnTo>
                <a:lnTo>
                  <a:pt x="43330" y="195975"/>
                </a:lnTo>
                <a:lnTo>
                  <a:pt x="24893" y="236167"/>
                </a:lnTo>
                <a:lnTo>
                  <a:pt x="11294" y="278771"/>
                </a:lnTo>
                <a:lnTo>
                  <a:pt x="2881" y="323442"/>
                </a:lnTo>
                <a:lnTo>
                  <a:pt x="0" y="369831"/>
                </a:lnTo>
                <a:lnTo>
                  <a:pt x="2881" y="416223"/>
                </a:lnTo>
                <a:lnTo>
                  <a:pt x="11294" y="460894"/>
                </a:lnTo>
                <a:lnTo>
                  <a:pt x="24893" y="503500"/>
                </a:lnTo>
                <a:lnTo>
                  <a:pt x="43330" y="543692"/>
                </a:lnTo>
                <a:lnTo>
                  <a:pt x="66260" y="581125"/>
                </a:lnTo>
                <a:lnTo>
                  <a:pt x="93335" y="615452"/>
                </a:lnTo>
                <a:lnTo>
                  <a:pt x="124210" y="646327"/>
                </a:lnTo>
                <a:lnTo>
                  <a:pt x="158537" y="673402"/>
                </a:lnTo>
                <a:lnTo>
                  <a:pt x="195970" y="696332"/>
                </a:lnTo>
                <a:lnTo>
                  <a:pt x="236163" y="714769"/>
                </a:lnTo>
                <a:lnTo>
                  <a:pt x="278768" y="728368"/>
                </a:lnTo>
                <a:lnTo>
                  <a:pt x="323440" y="736781"/>
                </a:lnTo>
                <a:lnTo>
                  <a:pt x="369831" y="739663"/>
                </a:lnTo>
                <a:lnTo>
                  <a:pt x="416223" y="736781"/>
                </a:lnTo>
                <a:lnTo>
                  <a:pt x="460894" y="728368"/>
                </a:lnTo>
                <a:lnTo>
                  <a:pt x="503500" y="714769"/>
                </a:lnTo>
                <a:lnTo>
                  <a:pt x="543692" y="696332"/>
                </a:lnTo>
                <a:lnTo>
                  <a:pt x="581125" y="673402"/>
                </a:lnTo>
                <a:lnTo>
                  <a:pt x="615452" y="646327"/>
                </a:lnTo>
                <a:lnTo>
                  <a:pt x="646327" y="615452"/>
                </a:lnTo>
                <a:lnTo>
                  <a:pt x="673402" y="581125"/>
                </a:lnTo>
                <a:lnTo>
                  <a:pt x="696332" y="543692"/>
                </a:lnTo>
                <a:lnTo>
                  <a:pt x="714769" y="503500"/>
                </a:lnTo>
                <a:lnTo>
                  <a:pt x="728368" y="460894"/>
                </a:lnTo>
                <a:lnTo>
                  <a:pt x="736781" y="416223"/>
                </a:lnTo>
                <a:lnTo>
                  <a:pt x="739663" y="369831"/>
                </a:lnTo>
                <a:lnTo>
                  <a:pt x="736781" y="323442"/>
                </a:lnTo>
                <a:lnTo>
                  <a:pt x="728368" y="278771"/>
                </a:lnTo>
                <a:lnTo>
                  <a:pt x="714769" y="236167"/>
                </a:lnTo>
                <a:lnTo>
                  <a:pt x="696332" y="195975"/>
                </a:lnTo>
                <a:lnTo>
                  <a:pt x="673402" y="158542"/>
                </a:lnTo>
                <a:lnTo>
                  <a:pt x="646327" y="124214"/>
                </a:lnTo>
                <a:lnTo>
                  <a:pt x="615452" y="93339"/>
                </a:lnTo>
                <a:lnTo>
                  <a:pt x="581125" y="66263"/>
                </a:lnTo>
                <a:lnTo>
                  <a:pt x="543692" y="43333"/>
                </a:lnTo>
                <a:lnTo>
                  <a:pt x="503500" y="24894"/>
                </a:lnTo>
                <a:lnTo>
                  <a:pt x="460894" y="11295"/>
                </a:lnTo>
                <a:lnTo>
                  <a:pt x="416223" y="2881"/>
                </a:lnTo>
                <a:lnTo>
                  <a:pt x="369831" y="0"/>
                </a:lnTo>
                <a:close/>
              </a:path>
            </a:pathLst>
          </a:custGeom>
          <a:solidFill>
            <a:srgbClr val="E5E5E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en-AU"/>
          </a:p>
        </p:txBody>
      </p:sp>
      <p:sp>
        <p:nvSpPr>
          <p:cNvPr id="16" name="object 29">
            <a:extLst>
              <a:ext uri="{FF2B5EF4-FFF2-40B4-BE49-F238E27FC236}">
                <a16:creationId xmlns:a16="http://schemas.microsoft.com/office/drawing/2014/main" id="{47D0763B-4E96-F391-50A4-3238FBE17687}"/>
              </a:ext>
            </a:extLst>
          </p:cNvPr>
          <p:cNvSpPr txBox="1"/>
          <p:nvPr userDrawn="1"/>
        </p:nvSpPr>
        <p:spPr>
          <a:xfrm>
            <a:off x="7315200" y="6540500"/>
            <a:ext cx="276225" cy="176213"/>
          </a:xfrm>
          <a:prstGeom prst="rect">
            <a:avLst/>
          </a:prstGeom>
        </p:spPr>
        <p:txBody>
          <a:bodyPr lIns="0" tIns="15875" rIns="0" bIns="0">
            <a:spAutoFit/>
          </a:bodyPr>
          <a:lstStyle/>
          <a:p>
            <a:pPr marL="12700" eaLnBrk="1" fontAlgn="auto" hangingPunct="1">
              <a:spcBef>
                <a:spcPts val="125"/>
              </a:spcBef>
              <a:spcAft>
                <a:spcPts val="0"/>
              </a:spcAft>
              <a:defRPr/>
            </a:pPr>
            <a:r>
              <a:rPr lang="it-IT" sz="1050" b="1" spc="25" dirty="0">
                <a:latin typeface="Helvetica Neue"/>
                <a:cs typeface="Helvetica Neue"/>
              </a:rPr>
              <a:t>M</a:t>
            </a:r>
            <a:r>
              <a:rPr lang="it-IT" sz="1050" b="1" spc="-65" dirty="0">
                <a:latin typeface="Helvetica Neue"/>
                <a:cs typeface="Helvetica Neue"/>
              </a:rPr>
              <a:t> </a:t>
            </a:r>
            <a:r>
              <a:rPr lang="it-IT" sz="1050" b="1" spc="114" dirty="0">
                <a:latin typeface="Helvetica Neue"/>
                <a:cs typeface="Helvetica Neue"/>
              </a:rPr>
              <a:t>B</a:t>
            </a:r>
            <a:endParaRPr lang="it-IT" sz="1050" dirty="0">
              <a:latin typeface="Helvetica Neue"/>
              <a:cs typeface="Helvetica Neue"/>
            </a:endParaRPr>
          </a:p>
        </p:txBody>
      </p:sp>
      <p:sp>
        <p:nvSpPr>
          <p:cNvPr id="17" name="object 30">
            <a:extLst>
              <a:ext uri="{FF2B5EF4-FFF2-40B4-BE49-F238E27FC236}">
                <a16:creationId xmlns:a16="http://schemas.microsoft.com/office/drawing/2014/main" id="{76DFC407-4A80-E55F-DF82-46CADD9D7A6F}"/>
              </a:ext>
            </a:extLst>
          </p:cNvPr>
          <p:cNvSpPr>
            <a:spLocks/>
          </p:cNvSpPr>
          <p:nvPr userDrawn="1"/>
        </p:nvSpPr>
        <p:spPr bwMode="auto">
          <a:xfrm>
            <a:off x="10206038" y="6251575"/>
            <a:ext cx="739775" cy="739775"/>
          </a:xfrm>
          <a:custGeom>
            <a:avLst/>
            <a:gdLst>
              <a:gd name="T0" fmla="*/ 369831 w 739775"/>
              <a:gd name="T1" fmla="*/ 0 h 739775"/>
              <a:gd name="T2" fmla="*/ 323440 w 739775"/>
              <a:gd name="T3" fmla="*/ 2881 h 739775"/>
              <a:gd name="T4" fmla="*/ 278768 w 739775"/>
              <a:gd name="T5" fmla="*/ 11295 h 739775"/>
              <a:gd name="T6" fmla="*/ 236163 w 739775"/>
              <a:gd name="T7" fmla="*/ 24894 h 739775"/>
              <a:gd name="T8" fmla="*/ 195970 w 739775"/>
              <a:gd name="T9" fmla="*/ 43333 h 739775"/>
              <a:gd name="T10" fmla="*/ 158537 w 739775"/>
              <a:gd name="T11" fmla="*/ 66263 h 739775"/>
              <a:gd name="T12" fmla="*/ 124210 w 739775"/>
              <a:gd name="T13" fmla="*/ 93339 h 739775"/>
              <a:gd name="T14" fmla="*/ 93335 w 739775"/>
              <a:gd name="T15" fmla="*/ 124214 h 739775"/>
              <a:gd name="T16" fmla="*/ 66260 w 739775"/>
              <a:gd name="T17" fmla="*/ 158542 h 739775"/>
              <a:gd name="T18" fmla="*/ 43330 w 739775"/>
              <a:gd name="T19" fmla="*/ 195975 h 739775"/>
              <a:gd name="T20" fmla="*/ 24893 w 739775"/>
              <a:gd name="T21" fmla="*/ 236167 h 739775"/>
              <a:gd name="T22" fmla="*/ 11294 w 739775"/>
              <a:gd name="T23" fmla="*/ 278771 h 739775"/>
              <a:gd name="T24" fmla="*/ 2881 w 739775"/>
              <a:gd name="T25" fmla="*/ 323442 h 739775"/>
              <a:gd name="T26" fmla="*/ 0 w 739775"/>
              <a:gd name="T27" fmla="*/ 369831 h 739775"/>
              <a:gd name="T28" fmla="*/ 2881 w 739775"/>
              <a:gd name="T29" fmla="*/ 416223 h 739775"/>
              <a:gd name="T30" fmla="*/ 11294 w 739775"/>
              <a:gd name="T31" fmla="*/ 460894 h 739775"/>
              <a:gd name="T32" fmla="*/ 24893 w 739775"/>
              <a:gd name="T33" fmla="*/ 503500 h 739775"/>
              <a:gd name="T34" fmla="*/ 43330 w 739775"/>
              <a:gd name="T35" fmla="*/ 543692 h 739775"/>
              <a:gd name="T36" fmla="*/ 66260 w 739775"/>
              <a:gd name="T37" fmla="*/ 581125 h 739775"/>
              <a:gd name="T38" fmla="*/ 93335 w 739775"/>
              <a:gd name="T39" fmla="*/ 615452 h 739775"/>
              <a:gd name="T40" fmla="*/ 124210 w 739775"/>
              <a:gd name="T41" fmla="*/ 646327 h 739775"/>
              <a:gd name="T42" fmla="*/ 158537 w 739775"/>
              <a:gd name="T43" fmla="*/ 673402 h 739775"/>
              <a:gd name="T44" fmla="*/ 195970 w 739775"/>
              <a:gd name="T45" fmla="*/ 696332 h 739775"/>
              <a:gd name="T46" fmla="*/ 236163 w 739775"/>
              <a:gd name="T47" fmla="*/ 714769 h 739775"/>
              <a:gd name="T48" fmla="*/ 278768 w 739775"/>
              <a:gd name="T49" fmla="*/ 728368 h 739775"/>
              <a:gd name="T50" fmla="*/ 323440 w 739775"/>
              <a:gd name="T51" fmla="*/ 736781 h 739775"/>
              <a:gd name="T52" fmla="*/ 369831 w 739775"/>
              <a:gd name="T53" fmla="*/ 739663 h 739775"/>
              <a:gd name="T54" fmla="*/ 416221 w 739775"/>
              <a:gd name="T55" fmla="*/ 736781 h 739775"/>
              <a:gd name="T56" fmla="*/ 460891 w 739775"/>
              <a:gd name="T57" fmla="*/ 728368 h 739775"/>
              <a:gd name="T58" fmla="*/ 503496 w 739775"/>
              <a:gd name="T59" fmla="*/ 714769 h 739775"/>
              <a:gd name="T60" fmla="*/ 543688 w 739775"/>
              <a:gd name="T61" fmla="*/ 696332 h 739775"/>
              <a:gd name="T62" fmla="*/ 581121 w 739775"/>
              <a:gd name="T63" fmla="*/ 673402 h 739775"/>
              <a:gd name="T64" fmla="*/ 615448 w 739775"/>
              <a:gd name="T65" fmla="*/ 646327 h 739775"/>
              <a:gd name="T66" fmla="*/ 646323 w 739775"/>
              <a:gd name="T67" fmla="*/ 615452 h 739775"/>
              <a:gd name="T68" fmla="*/ 673399 w 739775"/>
              <a:gd name="T69" fmla="*/ 581125 h 739775"/>
              <a:gd name="T70" fmla="*/ 696330 w 739775"/>
              <a:gd name="T71" fmla="*/ 543692 h 739775"/>
              <a:gd name="T72" fmla="*/ 714768 w 739775"/>
              <a:gd name="T73" fmla="*/ 503500 h 739775"/>
              <a:gd name="T74" fmla="*/ 728367 w 739775"/>
              <a:gd name="T75" fmla="*/ 460894 h 739775"/>
              <a:gd name="T76" fmla="*/ 736781 w 739775"/>
              <a:gd name="T77" fmla="*/ 416223 h 739775"/>
              <a:gd name="T78" fmla="*/ 739663 w 739775"/>
              <a:gd name="T79" fmla="*/ 369831 h 739775"/>
              <a:gd name="T80" fmla="*/ 736781 w 739775"/>
              <a:gd name="T81" fmla="*/ 323442 h 739775"/>
              <a:gd name="T82" fmla="*/ 728367 w 739775"/>
              <a:gd name="T83" fmla="*/ 278771 h 739775"/>
              <a:gd name="T84" fmla="*/ 714768 w 739775"/>
              <a:gd name="T85" fmla="*/ 236167 h 739775"/>
              <a:gd name="T86" fmla="*/ 696330 w 739775"/>
              <a:gd name="T87" fmla="*/ 195975 h 739775"/>
              <a:gd name="T88" fmla="*/ 673399 w 739775"/>
              <a:gd name="T89" fmla="*/ 158542 h 739775"/>
              <a:gd name="T90" fmla="*/ 646323 w 739775"/>
              <a:gd name="T91" fmla="*/ 124214 h 739775"/>
              <a:gd name="T92" fmla="*/ 615448 w 739775"/>
              <a:gd name="T93" fmla="*/ 93339 h 739775"/>
              <a:gd name="T94" fmla="*/ 581121 w 739775"/>
              <a:gd name="T95" fmla="*/ 66263 h 739775"/>
              <a:gd name="T96" fmla="*/ 543688 w 739775"/>
              <a:gd name="T97" fmla="*/ 43333 h 739775"/>
              <a:gd name="T98" fmla="*/ 503496 w 739775"/>
              <a:gd name="T99" fmla="*/ 24894 h 739775"/>
              <a:gd name="T100" fmla="*/ 460891 w 739775"/>
              <a:gd name="T101" fmla="*/ 11295 h 739775"/>
              <a:gd name="T102" fmla="*/ 416221 w 739775"/>
              <a:gd name="T103" fmla="*/ 2881 h 739775"/>
              <a:gd name="T104" fmla="*/ 369831 w 739775"/>
              <a:gd name="T105" fmla="*/ 0 h 7397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739775" h="739775">
                <a:moveTo>
                  <a:pt x="369831" y="0"/>
                </a:moveTo>
                <a:lnTo>
                  <a:pt x="323440" y="2881"/>
                </a:lnTo>
                <a:lnTo>
                  <a:pt x="278768" y="11295"/>
                </a:lnTo>
                <a:lnTo>
                  <a:pt x="236163" y="24894"/>
                </a:lnTo>
                <a:lnTo>
                  <a:pt x="195970" y="43333"/>
                </a:lnTo>
                <a:lnTo>
                  <a:pt x="158537" y="66263"/>
                </a:lnTo>
                <a:lnTo>
                  <a:pt x="124210" y="93339"/>
                </a:lnTo>
                <a:lnTo>
                  <a:pt x="93335" y="124214"/>
                </a:lnTo>
                <a:lnTo>
                  <a:pt x="66260" y="158542"/>
                </a:lnTo>
                <a:lnTo>
                  <a:pt x="43330" y="195975"/>
                </a:lnTo>
                <a:lnTo>
                  <a:pt x="24893" y="236167"/>
                </a:lnTo>
                <a:lnTo>
                  <a:pt x="11294" y="278771"/>
                </a:lnTo>
                <a:lnTo>
                  <a:pt x="2881" y="323442"/>
                </a:lnTo>
                <a:lnTo>
                  <a:pt x="0" y="369831"/>
                </a:lnTo>
                <a:lnTo>
                  <a:pt x="2881" y="416223"/>
                </a:lnTo>
                <a:lnTo>
                  <a:pt x="11294" y="460894"/>
                </a:lnTo>
                <a:lnTo>
                  <a:pt x="24893" y="503500"/>
                </a:lnTo>
                <a:lnTo>
                  <a:pt x="43330" y="543692"/>
                </a:lnTo>
                <a:lnTo>
                  <a:pt x="66260" y="581125"/>
                </a:lnTo>
                <a:lnTo>
                  <a:pt x="93335" y="615452"/>
                </a:lnTo>
                <a:lnTo>
                  <a:pt x="124210" y="646327"/>
                </a:lnTo>
                <a:lnTo>
                  <a:pt x="158537" y="673402"/>
                </a:lnTo>
                <a:lnTo>
                  <a:pt x="195970" y="696332"/>
                </a:lnTo>
                <a:lnTo>
                  <a:pt x="236163" y="714769"/>
                </a:lnTo>
                <a:lnTo>
                  <a:pt x="278768" y="728368"/>
                </a:lnTo>
                <a:lnTo>
                  <a:pt x="323440" y="736781"/>
                </a:lnTo>
                <a:lnTo>
                  <a:pt x="369831" y="739663"/>
                </a:lnTo>
                <a:lnTo>
                  <a:pt x="416221" y="736781"/>
                </a:lnTo>
                <a:lnTo>
                  <a:pt x="460891" y="728368"/>
                </a:lnTo>
                <a:lnTo>
                  <a:pt x="503496" y="714769"/>
                </a:lnTo>
                <a:lnTo>
                  <a:pt x="543688" y="696332"/>
                </a:lnTo>
                <a:lnTo>
                  <a:pt x="581121" y="673402"/>
                </a:lnTo>
                <a:lnTo>
                  <a:pt x="615448" y="646327"/>
                </a:lnTo>
                <a:lnTo>
                  <a:pt x="646323" y="615452"/>
                </a:lnTo>
                <a:lnTo>
                  <a:pt x="673399" y="581125"/>
                </a:lnTo>
                <a:lnTo>
                  <a:pt x="696330" y="543692"/>
                </a:lnTo>
                <a:lnTo>
                  <a:pt x="714768" y="503500"/>
                </a:lnTo>
                <a:lnTo>
                  <a:pt x="728367" y="460894"/>
                </a:lnTo>
                <a:lnTo>
                  <a:pt x="736781" y="416223"/>
                </a:lnTo>
                <a:lnTo>
                  <a:pt x="739663" y="369831"/>
                </a:lnTo>
                <a:lnTo>
                  <a:pt x="736781" y="323442"/>
                </a:lnTo>
                <a:lnTo>
                  <a:pt x="728367" y="278771"/>
                </a:lnTo>
                <a:lnTo>
                  <a:pt x="714768" y="236167"/>
                </a:lnTo>
                <a:lnTo>
                  <a:pt x="696330" y="195975"/>
                </a:lnTo>
                <a:lnTo>
                  <a:pt x="673399" y="158542"/>
                </a:lnTo>
                <a:lnTo>
                  <a:pt x="646323" y="124214"/>
                </a:lnTo>
                <a:lnTo>
                  <a:pt x="615448" y="93339"/>
                </a:lnTo>
                <a:lnTo>
                  <a:pt x="581121" y="66263"/>
                </a:lnTo>
                <a:lnTo>
                  <a:pt x="543688" y="43333"/>
                </a:lnTo>
                <a:lnTo>
                  <a:pt x="503496" y="24894"/>
                </a:lnTo>
                <a:lnTo>
                  <a:pt x="460891" y="11295"/>
                </a:lnTo>
                <a:lnTo>
                  <a:pt x="416221" y="2881"/>
                </a:lnTo>
                <a:lnTo>
                  <a:pt x="369831" y="0"/>
                </a:lnTo>
                <a:close/>
              </a:path>
            </a:pathLst>
          </a:custGeom>
          <a:solidFill>
            <a:srgbClr val="E5E5E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en-AU"/>
          </a:p>
        </p:txBody>
      </p:sp>
      <p:sp>
        <p:nvSpPr>
          <p:cNvPr id="18" name="object 31">
            <a:extLst>
              <a:ext uri="{FF2B5EF4-FFF2-40B4-BE49-F238E27FC236}">
                <a16:creationId xmlns:a16="http://schemas.microsoft.com/office/drawing/2014/main" id="{BC940798-1B35-E790-1358-0B25CEECE18F}"/>
              </a:ext>
            </a:extLst>
          </p:cNvPr>
          <p:cNvSpPr txBox="1"/>
          <p:nvPr userDrawn="1"/>
        </p:nvSpPr>
        <p:spPr>
          <a:xfrm>
            <a:off x="10434638" y="6540500"/>
            <a:ext cx="276225" cy="176213"/>
          </a:xfrm>
          <a:prstGeom prst="rect">
            <a:avLst/>
          </a:prstGeom>
        </p:spPr>
        <p:txBody>
          <a:bodyPr lIns="0" tIns="15875" rIns="0" bIns="0">
            <a:spAutoFit/>
          </a:bodyPr>
          <a:lstStyle/>
          <a:p>
            <a:pPr marL="12700" eaLnBrk="1" fontAlgn="auto" hangingPunct="1">
              <a:spcBef>
                <a:spcPts val="125"/>
              </a:spcBef>
              <a:spcAft>
                <a:spcPts val="0"/>
              </a:spcAft>
              <a:defRPr/>
            </a:pPr>
            <a:r>
              <a:rPr lang="it-IT" sz="1050" b="1" spc="25" dirty="0">
                <a:latin typeface="Helvetica Neue"/>
                <a:cs typeface="Helvetica Neue"/>
              </a:rPr>
              <a:t>M</a:t>
            </a:r>
            <a:r>
              <a:rPr lang="it-IT" sz="1050" b="1" spc="-65" dirty="0">
                <a:latin typeface="Helvetica Neue"/>
                <a:cs typeface="Helvetica Neue"/>
              </a:rPr>
              <a:t> </a:t>
            </a:r>
            <a:r>
              <a:rPr lang="it-IT" sz="1050" b="1" spc="114" dirty="0">
                <a:latin typeface="Helvetica Neue"/>
                <a:cs typeface="Helvetica Neue"/>
              </a:rPr>
              <a:t>B</a:t>
            </a:r>
            <a:endParaRPr lang="it-IT" sz="1050" dirty="0">
              <a:latin typeface="Helvetica Neue"/>
              <a:cs typeface="Helvetica Neue"/>
            </a:endParaRPr>
          </a:p>
        </p:txBody>
      </p:sp>
      <p:sp>
        <p:nvSpPr>
          <p:cNvPr id="19" name="object 32">
            <a:extLst>
              <a:ext uri="{FF2B5EF4-FFF2-40B4-BE49-F238E27FC236}">
                <a16:creationId xmlns:a16="http://schemas.microsoft.com/office/drawing/2014/main" id="{3185266C-27E2-0D3C-3B36-F52AF2BD7024}"/>
              </a:ext>
            </a:extLst>
          </p:cNvPr>
          <p:cNvSpPr>
            <a:spLocks/>
          </p:cNvSpPr>
          <p:nvPr userDrawn="1"/>
        </p:nvSpPr>
        <p:spPr bwMode="auto">
          <a:xfrm>
            <a:off x="5011738" y="6251575"/>
            <a:ext cx="739775" cy="739775"/>
          </a:xfrm>
          <a:custGeom>
            <a:avLst/>
            <a:gdLst>
              <a:gd name="T0" fmla="*/ 369831 w 739775"/>
              <a:gd name="T1" fmla="*/ 0 h 739775"/>
              <a:gd name="T2" fmla="*/ 323440 w 739775"/>
              <a:gd name="T3" fmla="*/ 2881 h 739775"/>
              <a:gd name="T4" fmla="*/ 278768 w 739775"/>
              <a:gd name="T5" fmla="*/ 11295 h 739775"/>
              <a:gd name="T6" fmla="*/ 236163 w 739775"/>
              <a:gd name="T7" fmla="*/ 24894 h 739775"/>
              <a:gd name="T8" fmla="*/ 195970 w 739775"/>
              <a:gd name="T9" fmla="*/ 43333 h 739775"/>
              <a:gd name="T10" fmla="*/ 158537 w 739775"/>
              <a:gd name="T11" fmla="*/ 66263 h 739775"/>
              <a:gd name="T12" fmla="*/ 124210 w 739775"/>
              <a:gd name="T13" fmla="*/ 93339 h 739775"/>
              <a:gd name="T14" fmla="*/ 93335 w 739775"/>
              <a:gd name="T15" fmla="*/ 124214 h 739775"/>
              <a:gd name="T16" fmla="*/ 66260 w 739775"/>
              <a:gd name="T17" fmla="*/ 158542 h 739775"/>
              <a:gd name="T18" fmla="*/ 43330 w 739775"/>
              <a:gd name="T19" fmla="*/ 195975 h 739775"/>
              <a:gd name="T20" fmla="*/ 24893 w 739775"/>
              <a:gd name="T21" fmla="*/ 236167 h 739775"/>
              <a:gd name="T22" fmla="*/ 11294 w 739775"/>
              <a:gd name="T23" fmla="*/ 278771 h 739775"/>
              <a:gd name="T24" fmla="*/ 2881 w 739775"/>
              <a:gd name="T25" fmla="*/ 323442 h 739775"/>
              <a:gd name="T26" fmla="*/ 0 w 739775"/>
              <a:gd name="T27" fmla="*/ 369831 h 739775"/>
              <a:gd name="T28" fmla="*/ 2881 w 739775"/>
              <a:gd name="T29" fmla="*/ 416223 h 739775"/>
              <a:gd name="T30" fmla="*/ 11294 w 739775"/>
              <a:gd name="T31" fmla="*/ 460894 h 739775"/>
              <a:gd name="T32" fmla="*/ 24893 w 739775"/>
              <a:gd name="T33" fmla="*/ 503500 h 739775"/>
              <a:gd name="T34" fmla="*/ 43330 w 739775"/>
              <a:gd name="T35" fmla="*/ 543692 h 739775"/>
              <a:gd name="T36" fmla="*/ 66260 w 739775"/>
              <a:gd name="T37" fmla="*/ 581125 h 739775"/>
              <a:gd name="T38" fmla="*/ 93335 w 739775"/>
              <a:gd name="T39" fmla="*/ 615452 h 739775"/>
              <a:gd name="T40" fmla="*/ 124210 w 739775"/>
              <a:gd name="T41" fmla="*/ 646327 h 739775"/>
              <a:gd name="T42" fmla="*/ 158537 w 739775"/>
              <a:gd name="T43" fmla="*/ 673402 h 739775"/>
              <a:gd name="T44" fmla="*/ 195970 w 739775"/>
              <a:gd name="T45" fmla="*/ 696332 h 739775"/>
              <a:gd name="T46" fmla="*/ 236163 w 739775"/>
              <a:gd name="T47" fmla="*/ 714769 h 739775"/>
              <a:gd name="T48" fmla="*/ 278768 w 739775"/>
              <a:gd name="T49" fmla="*/ 728368 h 739775"/>
              <a:gd name="T50" fmla="*/ 323440 w 739775"/>
              <a:gd name="T51" fmla="*/ 736781 h 739775"/>
              <a:gd name="T52" fmla="*/ 369831 w 739775"/>
              <a:gd name="T53" fmla="*/ 739663 h 739775"/>
              <a:gd name="T54" fmla="*/ 416223 w 739775"/>
              <a:gd name="T55" fmla="*/ 736781 h 739775"/>
              <a:gd name="T56" fmla="*/ 460894 w 739775"/>
              <a:gd name="T57" fmla="*/ 728368 h 739775"/>
              <a:gd name="T58" fmla="*/ 503500 w 739775"/>
              <a:gd name="T59" fmla="*/ 714769 h 739775"/>
              <a:gd name="T60" fmla="*/ 543692 w 739775"/>
              <a:gd name="T61" fmla="*/ 696332 h 739775"/>
              <a:gd name="T62" fmla="*/ 581125 w 739775"/>
              <a:gd name="T63" fmla="*/ 673402 h 739775"/>
              <a:gd name="T64" fmla="*/ 615452 w 739775"/>
              <a:gd name="T65" fmla="*/ 646327 h 739775"/>
              <a:gd name="T66" fmla="*/ 646327 w 739775"/>
              <a:gd name="T67" fmla="*/ 615452 h 739775"/>
              <a:gd name="T68" fmla="*/ 673402 w 739775"/>
              <a:gd name="T69" fmla="*/ 581125 h 739775"/>
              <a:gd name="T70" fmla="*/ 696332 w 739775"/>
              <a:gd name="T71" fmla="*/ 543692 h 739775"/>
              <a:gd name="T72" fmla="*/ 714769 w 739775"/>
              <a:gd name="T73" fmla="*/ 503500 h 739775"/>
              <a:gd name="T74" fmla="*/ 728368 w 739775"/>
              <a:gd name="T75" fmla="*/ 460894 h 739775"/>
              <a:gd name="T76" fmla="*/ 736781 w 739775"/>
              <a:gd name="T77" fmla="*/ 416223 h 739775"/>
              <a:gd name="T78" fmla="*/ 739663 w 739775"/>
              <a:gd name="T79" fmla="*/ 369831 h 739775"/>
              <a:gd name="T80" fmla="*/ 736781 w 739775"/>
              <a:gd name="T81" fmla="*/ 323442 h 739775"/>
              <a:gd name="T82" fmla="*/ 728368 w 739775"/>
              <a:gd name="T83" fmla="*/ 278771 h 739775"/>
              <a:gd name="T84" fmla="*/ 714769 w 739775"/>
              <a:gd name="T85" fmla="*/ 236167 h 739775"/>
              <a:gd name="T86" fmla="*/ 696332 w 739775"/>
              <a:gd name="T87" fmla="*/ 195975 h 739775"/>
              <a:gd name="T88" fmla="*/ 673402 w 739775"/>
              <a:gd name="T89" fmla="*/ 158542 h 739775"/>
              <a:gd name="T90" fmla="*/ 646327 w 739775"/>
              <a:gd name="T91" fmla="*/ 124214 h 739775"/>
              <a:gd name="T92" fmla="*/ 615452 w 739775"/>
              <a:gd name="T93" fmla="*/ 93339 h 739775"/>
              <a:gd name="T94" fmla="*/ 581125 w 739775"/>
              <a:gd name="T95" fmla="*/ 66263 h 739775"/>
              <a:gd name="T96" fmla="*/ 543692 w 739775"/>
              <a:gd name="T97" fmla="*/ 43333 h 739775"/>
              <a:gd name="T98" fmla="*/ 503500 w 739775"/>
              <a:gd name="T99" fmla="*/ 24894 h 739775"/>
              <a:gd name="T100" fmla="*/ 460894 w 739775"/>
              <a:gd name="T101" fmla="*/ 11295 h 739775"/>
              <a:gd name="T102" fmla="*/ 416223 w 739775"/>
              <a:gd name="T103" fmla="*/ 2881 h 739775"/>
              <a:gd name="T104" fmla="*/ 369831 w 739775"/>
              <a:gd name="T105" fmla="*/ 0 h 7397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739775" h="739775">
                <a:moveTo>
                  <a:pt x="369831" y="0"/>
                </a:moveTo>
                <a:lnTo>
                  <a:pt x="323440" y="2881"/>
                </a:lnTo>
                <a:lnTo>
                  <a:pt x="278768" y="11295"/>
                </a:lnTo>
                <a:lnTo>
                  <a:pt x="236163" y="24894"/>
                </a:lnTo>
                <a:lnTo>
                  <a:pt x="195970" y="43333"/>
                </a:lnTo>
                <a:lnTo>
                  <a:pt x="158537" y="66263"/>
                </a:lnTo>
                <a:lnTo>
                  <a:pt x="124210" y="93339"/>
                </a:lnTo>
                <a:lnTo>
                  <a:pt x="93335" y="124214"/>
                </a:lnTo>
                <a:lnTo>
                  <a:pt x="66260" y="158542"/>
                </a:lnTo>
                <a:lnTo>
                  <a:pt x="43330" y="195975"/>
                </a:lnTo>
                <a:lnTo>
                  <a:pt x="24893" y="236167"/>
                </a:lnTo>
                <a:lnTo>
                  <a:pt x="11294" y="278771"/>
                </a:lnTo>
                <a:lnTo>
                  <a:pt x="2881" y="323442"/>
                </a:lnTo>
                <a:lnTo>
                  <a:pt x="0" y="369831"/>
                </a:lnTo>
                <a:lnTo>
                  <a:pt x="2881" y="416223"/>
                </a:lnTo>
                <a:lnTo>
                  <a:pt x="11294" y="460894"/>
                </a:lnTo>
                <a:lnTo>
                  <a:pt x="24893" y="503500"/>
                </a:lnTo>
                <a:lnTo>
                  <a:pt x="43330" y="543692"/>
                </a:lnTo>
                <a:lnTo>
                  <a:pt x="66260" y="581125"/>
                </a:lnTo>
                <a:lnTo>
                  <a:pt x="93335" y="615452"/>
                </a:lnTo>
                <a:lnTo>
                  <a:pt x="124210" y="646327"/>
                </a:lnTo>
                <a:lnTo>
                  <a:pt x="158537" y="673402"/>
                </a:lnTo>
                <a:lnTo>
                  <a:pt x="195970" y="696332"/>
                </a:lnTo>
                <a:lnTo>
                  <a:pt x="236163" y="714769"/>
                </a:lnTo>
                <a:lnTo>
                  <a:pt x="278768" y="728368"/>
                </a:lnTo>
                <a:lnTo>
                  <a:pt x="323440" y="736781"/>
                </a:lnTo>
                <a:lnTo>
                  <a:pt x="369831" y="739663"/>
                </a:lnTo>
                <a:lnTo>
                  <a:pt x="416223" y="736781"/>
                </a:lnTo>
                <a:lnTo>
                  <a:pt x="460894" y="728368"/>
                </a:lnTo>
                <a:lnTo>
                  <a:pt x="503500" y="714769"/>
                </a:lnTo>
                <a:lnTo>
                  <a:pt x="543692" y="696332"/>
                </a:lnTo>
                <a:lnTo>
                  <a:pt x="581125" y="673402"/>
                </a:lnTo>
                <a:lnTo>
                  <a:pt x="615452" y="646327"/>
                </a:lnTo>
                <a:lnTo>
                  <a:pt x="646327" y="615452"/>
                </a:lnTo>
                <a:lnTo>
                  <a:pt x="673402" y="581125"/>
                </a:lnTo>
                <a:lnTo>
                  <a:pt x="696332" y="543692"/>
                </a:lnTo>
                <a:lnTo>
                  <a:pt x="714769" y="503500"/>
                </a:lnTo>
                <a:lnTo>
                  <a:pt x="728368" y="460894"/>
                </a:lnTo>
                <a:lnTo>
                  <a:pt x="736781" y="416223"/>
                </a:lnTo>
                <a:lnTo>
                  <a:pt x="739663" y="369831"/>
                </a:lnTo>
                <a:lnTo>
                  <a:pt x="736781" y="323442"/>
                </a:lnTo>
                <a:lnTo>
                  <a:pt x="728368" y="278771"/>
                </a:lnTo>
                <a:lnTo>
                  <a:pt x="714769" y="236167"/>
                </a:lnTo>
                <a:lnTo>
                  <a:pt x="696332" y="195975"/>
                </a:lnTo>
                <a:lnTo>
                  <a:pt x="673402" y="158542"/>
                </a:lnTo>
                <a:lnTo>
                  <a:pt x="646327" y="124214"/>
                </a:lnTo>
                <a:lnTo>
                  <a:pt x="615452" y="93339"/>
                </a:lnTo>
                <a:lnTo>
                  <a:pt x="581125" y="66263"/>
                </a:lnTo>
                <a:lnTo>
                  <a:pt x="543692" y="43333"/>
                </a:lnTo>
                <a:lnTo>
                  <a:pt x="503500" y="24894"/>
                </a:lnTo>
                <a:lnTo>
                  <a:pt x="460894" y="11295"/>
                </a:lnTo>
                <a:lnTo>
                  <a:pt x="416223" y="2881"/>
                </a:lnTo>
                <a:lnTo>
                  <a:pt x="369831" y="0"/>
                </a:lnTo>
                <a:close/>
              </a:path>
            </a:pathLst>
          </a:custGeom>
          <a:solidFill>
            <a:srgbClr val="E5E5E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en-AU"/>
          </a:p>
        </p:txBody>
      </p:sp>
      <p:sp>
        <p:nvSpPr>
          <p:cNvPr id="20" name="object 33">
            <a:extLst>
              <a:ext uri="{FF2B5EF4-FFF2-40B4-BE49-F238E27FC236}">
                <a16:creationId xmlns:a16="http://schemas.microsoft.com/office/drawing/2014/main" id="{31F96FC5-7F07-C200-6E80-1A546C74F7DA}"/>
              </a:ext>
            </a:extLst>
          </p:cNvPr>
          <p:cNvSpPr txBox="1"/>
          <p:nvPr userDrawn="1"/>
        </p:nvSpPr>
        <p:spPr>
          <a:xfrm>
            <a:off x="5103813" y="6540500"/>
            <a:ext cx="554037" cy="176213"/>
          </a:xfrm>
          <a:prstGeom prst="rect">
            <a:avLst/>
          </a:prstGeom>
        </p:spPr>
        <p:txBody>
          <a:bodyPr lIns="0" tIns="15875" rIns="0" bIns="0">
            <a:spAutoFit/>
          </a:bodyPr>
          <a:lstStyle/>
          <a:p>
            <a:pPr marL="12700" algn="ctr" eaLnBrk="1" fontAlgn="auto" hangingPunct="1">
              <a:spcBef>
                <a:spcPts val="125"/>
              </a:spcBef>
              <a:spcAft>
                <a:spcPts val="0"/>
              </a:spcAft>
              <a:defRPr/>
            </a:pPr>
            <a:r>
              <a:rPr lang="it-IT" sz="1050" b="1" spc="290" dirty="0">
                <a:latin typeface="Helvetica Neue"/>
                <a:cs typeface="Helvetica Neue"/>
              </a:rPr>
              <a:t>FIAT</a:t>
            </a:r>
            <a:endParaRPr lang="it-IT" sz="1050" dirty="0">
              <a:latin typeface="Helvetica Neue"/>
              <a:cs typeface="Helvetica Neue"/>
            </a:endParaRPr>
          </a:p>
        </p:txBody>
      </p:sp>
      <p:sp>
        <p:nvSpPr>
          <p:cNvPr id="21" name="object 42">
            <a:extLst>
              <a:ext uri="{FF2B5EF4-FFF2-40B4-BE49-F238E27FC236}">
                <a16:creationId xmlns:a16="http://schemas.microsoft.com/office/drawing/2014/main" id="{87FE561F-3C8C-6BBD-5139-36630EA5B2A3}"/>
              </a:ext>
            </a:extLst>
          </p:cNvPr>
          <p:cNvSpPr>
            <a:spLocks/>
          </p:cNvSpPr>
          <p:nvPr userDrawn="1"/>
        </p:nvSpPr>
        <p:spPr bwMode="auto">
          <a:xfrm>
            <a:off x="9153525" y="6251575"/>
            <a:ext cx="739775" cy="739775"/>
          </a:xfrm>
          <a:custGeom>
            <a:avLst/>
            <a:gdLst>
              <a:gd name="T0" fmla="*/ 369831 w 739775"/>
              <a:gd name="T1" fmla="*/ 0 h 739775"/>
              <a:gd name="T2" fmla="*/ 323440 w 739775"/>
              <a:gd name="T3" fmla="*/ 2881 h 739775"/>
              <a:gd name="T4" fmla="*/ 278768 w 739775"/>
              <a:gd name="T5" fmla="*/ 11295 h 739775"/>
              <a:gd name="T6" fmla="*/ 236163 w 739775"/>
              <a:gd name="T7" fmla="*/ 24894 h 739775"/>
              <a:gd name="T8" fmla="*/ 195970 w 739775"/>
              <a:gd name="T9" fmla="*/ 43333 h 739775"/>
              <a:gd name="T10" fmla="*/ 158537 w 739775"/>
              <a:gd name="T11" fmla="*/ 66263 h 739775"/>
              <a:gd name="T12" fmla="*/ 124210 w 739775"/>
              <a:gd name="T13" fmla="*/ 93339 h 739775"/>
              <a:gd name="T14" fmla="*/ 93335 w 739775"/>
              <a:gd name="T15" fmla="*/ 124214 h 739775"/>
              <a:gd name="T16" fmla="*/ 66260 w 739775"/>
              <a:gd name="T17" fmla="*/ 158542 h 739775"/>
              <a:gd name="T18" fmla="*/ 43330 w 739775"/>
              <a:gd name="T19" fmla="*/ 195975 h 739775"/>
              <a:gd name="T20" fmla="*/ 24893 w 739775"/>
              <a:gd name="T21" fmla="*/ 236167 h 739775"/>
              <a:gd name="T22" fmla="*/ 11294 w 739775"/>
              <a:gd name="T23" fmla="*/ 278771 h 739775"/>
              <a:gd name="T24" fmla="*/ 2881 w 739775"/>
              <a:gd name="T25" fmla="*/ 323442 h 739775"/>
              <a:gd name="T26" fmla="*/ 0 w 739775"/>
              <a:gd name="T27" fmla="*/ 369831 h 739775"/>
              <a:gd name="T28" fmla="*/ 2881 w 739775"/>
              <a:gd name="T29" fmla="*/ 416223 h 739775"/>
              <a:gd name="T30" fmla="*/ 11294 w 739775"/>
              <a:gd name="T31" fmla="*/ 460894 h 739775"/>
              <a:gd name="T32" fmla="*/ 24893 w 739775"/>
              <a:gd name="T33" fmla="*/ 503500 h 739775"/>
              <a:gd name="T34" fmla="*/ 43330 w 739775"/>
              <a:gd name="T35" fmla="*/ 543692 h 739775"/>
              <a:gd name="T36" fmla="*/ 66260 w 739775"/>
              <a:gd name="T37" fmla="*/ 581125 h 739775"/>
              <a:gd name="T38" fmla="*/ 93335 w 739775"/>
              <a:gd name="T39" fmla="*/ 615452 h 739775"/>
              <a:gd name="T40" fmla="*/ 124210 w 739775"/>
              <a:gd name="T41" fmla="*/ 646327 h 739775"/>
              <a:gd name="T42" fmla="*/ 158537 w 739775"/>
              <a:gd name="T43" fmla="*/ 673402 h 739775"/>
              <a:gd name="T44" fmla="*/ 195970 w 739775"/>
              <a:gd name="T45" fmla="*/ 696332 h 739775"/>
              <a:gd name="T46" fmla="*/ 236163 w 739775"/>
              <a:gd name="T47" fmla="*/ 714769 h 739775"/>
              <a:gd name="T48" fmla="*/ 278768 w 739775"/>
              <a:gd name="T49" fmla="*/ 728368 h 739775"/>
              <a:gd name="T50" fmla="*/ 323440 w 739775"/>
              <a:gd name="T51" fmla="*/ 736781 h 739775"/>
              <a:gd name="T52" fmla="*/ 369831 w 739775"/>
              <a:gd name="T53" fmla="*/ 739663 h 739775"/>
              <a:gd name="T54" fmla="*/ 416223 w 739775"/>
              <a:gd name="T55" fmla="*/ 736781 h 739775"/>
              <a:gd name="T56" fmla="*/ 460894 w 739775"/>
              <a:gd name="T57" fmla="*/ 728368 h 739775"/>
              <a:gd name="T58" fmla="*/ 503500 w 739775"/>
              <a:gd name="T59" fmla="*/ 714769 h 739775"/>
              <a:gd name="T60" fmla="*/ 543692 w 739775"/>
              <a:gd name="T61" fmla="*/ 696332 h 739775"/>
              <a:gd name="T62" fmla="*/ 581125 w 739775"/>
              <a:gd name="T63" fmla="*/ 673402 h 739775"/>
              <a:gd name="T64" fmla="*/ 615452 w 739775"/>
              <a:gd name="T65" fmla="*/ 646327 h 739775"/>
              <a:gd name="T66" fmla="*/ 646327 w 739775"/>
              <a:gd name="T67" fmla="*/ 615452 h 739775"/>
              <a:gd name="T68" fmla="*/ 673402 w 739775"/>
              <a:gd name="T69" fmla="*/ 581125 h 739775"/>
              <a:gd name="T70" fmla="*/ 696332 w 739775"/>
              <a:gd name="T71" fmla="*/ 543692 h 739775"/>
              <a:gd name="T72" fmla="*/ 714769 w 739775"/>
              <a:gd name="T73" fmla="*/ 503500 h 739775"/>
              <a:gd name="T74" fmla="*/ 728368 w 739775"/>
              <a:gd name="T75" fmla="*/ 460894 h 739775"/>
              <a:gd name="T76" fmla="*/ 736781 w 739775"/>
              <a:gd name="T77" fmla="*/ 416223 h 739775"/>
              <a:gd name="T78" fmla="*/ 739663 w 739775"/>
              <a:gd name="T79" fmla="*/ 369831 h 739775"/>
              <a:gd name="T80" fmla="*/ 736781 w 739775"/>
              <a:gd name="T81" fmla="*/ 323442 h 739775"/>
              <a:gd name="T82" fmla="*/ 728368 w 739775"/>
              <a:gd name="T83" fmla="*/ 278771 h 739775"/>
              <a:gd name="T84" fmla="*/ 714769 w 739775"/>
              <a:gd name="T85" fmla="*/ 236167 h 739775"/>
              <a:gd name="T86" fmla="*/ 696332 w 739775"/>
              <a:gd name="T87" fmla="*/ 195975 h 739775"/>
              <a:gd name="T88" fmla="*/ 673402 w 739775"/>
              <a:gd name="T89" fmla="*/ 158542 h 739775"/>
              <a:gd name="T90" fmla="*/ 646327 w 739775"/>
              <a:gd name="T91" fmla="*/ 124214 h 739775"/>
              <a:gd name="T92" fmla="*/ 615452 w 739775"/>
              <a:gd name="T93" fmla="*/ 93339 h 739775"/>
              <a:gd name="T94" fmla="*/ 581125 w 739775"/>
              <a:gd name="T95" fmla="*/ 66263 h 739775"/>
              <a:gd name="T96" fmla="*/ 543692 w 739775"/>
              <a:gd name="T97" fmla="*/ 43333 h 739775"/>
              <a:gd name="T98" fmla="*/ 503500 w 739775"/>
              <a:gd name="T99" fmla="*/ 24894 h 739775"/>
              <a:gd name="T100" fmla="*/ 460894 w 739775"/>
              <a:gd name="T101" fmla="*/ 11295 h 739775"/>
              <a:gd name="T102" fmla="*/ 416223 w 739775"/>
              <a:gd name="T103" fmla="*/ 2881 h 739775"/>
              <a:gd name="T104" fmla="*/ 369831 w 739775"/>
              <a:gd name="T105" fmla="*/ 0 h 7397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739775" h="739775">
                <a:moveTo>
                  <a:pt x="369831" y="0"/>
                </a:moveTo>
                <a:lnTo>
                  <a:pt x="323440" y="2881"/>
                </a:lnTo>
                <a:lnTo>
                  <a:pt x="278768" y="11295"/>
                </a:lnTo>
                <a:lnTo>
                  <a:pt x="236163" y="24894"/>
                </a:lnTo>
                <a:lnTo>
                  <a:pt x="195970" y="43333"/>
                </a:lnTo>
                <a:lnTo>
                  <a:pt x="158537" y="66263"/>
                </a:lnTo>
                <a:lnTo>
                  <a:pt x="124210" y="93339"/>
                </a:lnTo>
                <a:lnTo>
                  <a:pt x="93335" y="124214"/>
                </a:lnTo>
                <a:lnTo>
                  <a:pt x="66260" y="158542"/>
                </a:lnTo>
                <a:lnTo>
                  <a:pt x="43330" y="195975"/>
                </a:lnTo>
                <a:lnTo>
                  <a:pt x="24893" y="236167"/>
                </a:lnTo>
                <a:lnTo>
                  <a:pt x="11294" y="278771"/>
                </a:lnTo>
                <a:lnTo>
                  <a:pt x="2881" y="323442"/>
                </a:lnTo>
                <a:lnTo>
                  <a:pt x="0" y="369831"/>
                </a:lnTo>
                <a:lnTo>
                  <a:pt x="2881" y="416223"/>
                </a:lnTo>
                <a:lnTo>
                  <a:pt x="11294" y="460894"/>
                </a:lnTo>
                <a:lnTo>
                  <a:pt x="24893" y="503500"/>
                </a:lnTo>
                <a:lnTo>
                  <a:pt x="43330" y="543692"/>
                </a:lnTo>
                <a:lnTo>
                  <a:pt x="66260" y="581125"/>
                </a:lnTo>
                <a:lnTo>
                  <a:pt x="93335" y="615452"/>
                </a:lnTo>
                <a:lnTo>
                  <a:pt x="124210" y="646327"/>
                </a:lnTo>
                <a:lnTo>
                  <a:pt x="158537" y="673402"/>
                </a:lnTo>
                <a:lnTo>
                  <a:pt x="195970" y="696332"/>
                </a:lnTo>
                <a:lnTo>
                  <a:pt x="236163" y="714769"/>
                </a:lnTo>
                <a:lnTo>
                  <a:pt x="278768" y="728368"/>
                </a:lnTo>
                <a:lnTo>
                  <a:pt x="323440" y="736781"/>
                </a:lnTo>
                <a:lnTo>
                  <a:pt x="369831" y="739663"/>
                </a:lnTo>
                <a:lnTo>
                  <a:pt x="416223" y="736781"/>
                </a:lnTo>
                <a:lnTo>
                  <a:pt x="460894" y="728368"/>
                </a:lnTo>
                <a:lnTo>
                  <a:pt x="503500" y="714769"/>
                </a:lnTo>
                <a:lnTo>
                  <a:pt x="543692" y="696332"/>
                </a:lnTo>
                <a:lnTo>
                  <a:pt x="581125" y="673402"/>
                </a:lnTo>
                <a:lnTo>
                  <a:pt x="615452" y="646327"/>
                </a:lnTo>
                <a:lnTo>
                  <a:pt x="646327" y="615452"/>
                </a:lnTo>
                <a:lnTo>
                  <a:pt x="673402" y="581125"/>
                </a:lnTo>
                <a:lnTo>
                  <a:pt x="696332" y="543692"/>
                </a:lnTo>
                <a:lnTo>
                  <a:pt x="714769" y="503500"/>
                </a:lnTo>
                <a:lnTo>
                  <a:pt x="728368" y="460894"/>
                </a:lnTo>
                <a:lnTo>
                  <a:pt x="736781" y="416223"/>
                </a:lnTo>
                <a:lnTo>
                  <a:pt x="739663" y="369831"/>
                </a:lnTo>
                <a:lnTo>
                  <a:pt x="736781" y="323442"/>
                </a:lnTo>
                <a:lnTo>
                  <a:pt x="728368" y="278771"/>
                </a:lnTo>
                <a:lnTo>
                  <a:pt x="714769" y="236167"/>
                </a:lnTo>
                <a:lnTo>
                  <a:pt x="696332" y="195975"/>
                </a:lnTo>
                <a:lnTo>
                  <a:pt x="673402" y="158542"/>
                </a:lnTo>
                <a:lnTo>
                  <a:pt x="646327" y="124214"/>
                </a:lnTo>
                <a:lnTo>
                  <a:pt x="615452" y="93339"/>
                </a:lnTo>
                <a:lnTo>
                  <a:pt x="581125" y="66263"/>
                </a:lnTo>
                <a:lnTo>
                  <a:pt x="543692" y="43333"/>
                </a:lnTo>
                <a:lnTo>
                  <a:pt x="503500" y="24894"/>
                </a:lnTo>
                <a:lnTo>
                  <a:pt x="460894" y="11295"/>
                </a:lnTo>
                <a:lnTo>
                  <a:pt x="416223" y="2881"/>
                </a:lnTo>
                <a:lnTo>
                  <a:pt x="369831" y="0"/>
                </a:lnTo>
                <a:close/>
              </a:path>
            </a:pathLst>
          </a:custGeom>
          <a:solidFill>
            <a:srgbClr val="E5E5E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en-AU"/>
          </a:p>
        </p:txBody>
      </p:sp>
      <p:sp>
        <p:nvSpPr>
          <p:cNvPr id="22" name="object 43">
            <a:extLst>
              <a:ext uri="{FF2B5EF4-FFF2-40B4-BE49-F238E27FC236}">
                <a16:creationId xmlns:a16="http://schemas.microsoft.com/office/drawing/2014/main" id="{5D2FD7F5-A13D-8935-16FC-582051A21883}"/>
              </a:ext>
            </a:extLst>
          </p:cNvPr>
          <p:cNvSpPr txBox="1"/>
          <p:nvPr userDrawn="1"/>
        </p:nvSpPr>
        <p:spPr>
          <a:xfrm>
            <a:off x="9124950" y="6540500"/>
            <a:ext cx="796925" cy="176213"/>
          </a:xfrm>
          <a:prstGeom prst="rect">
            <a:avLst/>
          </a:prstGeom>
        </p:spPr>
        <p:txBody>
          <a:bodyPr lIns="0" tIns="15875" rIns="0" bIns="0">
            <a:spAutoFit/>
          </a:bodyPr>
          <a:lstStyle/>
          <a:p>
            <a:pPr marL="12700" algn="ctr" eaLnBrk="1" fontAlgn="auto" hangingPunct="1">
              <a:spcBef>
                <a:spcPts val="125"/>
              </a:spcBef>
              <a:spcAft>
                <a:spcPts val="0"/>
              </a:spcAft>
              <a:defRPr/>
            </a:pPr>
            <a:r>
              <a:rPr lang="it-IT" sz="1050" b="1" spc="195" dirty="0">
                <a:latin typeface="Helvetica Neue"/>
                <a:cs typeface="Helvetica Neue"/>
              </a:rPr>
              <a:t>CITRO</a:t>
            </a:r>
            <a:endParaRPr lang="it-IT" sz="1050" dirty="0">
              <a:latin typeface="Helvetica Neue"/>
              <a:cs typeface="Helvetica Neue"/>
            </a:endParaRPr>
          </a:p>
        </p:txBody>
      </p:sp>
      <p:sp>
        <p:nvSpPr>
          <p:cNvPr id="23" name="object 48">
            <a:extLst>
              <a:ext uri="{FF2B5EF4-FFF2-40B4-BE49-F238E27FC236}">
                <a16:creationId xmlns:a16="http://schemas.microsoft.com/office/drawing/2014/main" id="{96A338AA-6E74-0632-AA72-6F42D8699DC8}"/>
              </a:ext>
            </a:extLst>
          </p:cNvPr>
          <p:cNvSpPr>
            <a:spLocks/>
          </p:cNvSpPr>
          <p:nvPr userDrawn="1"/>
        </p:nvSpPr>
        <p:spPr bwMode="auto">
          <a:xfrm>
            <a:off x="16444913" y="6251575"/>
            <a:ext cx="739775" cy="739775"/>
          </a:xfrm>
          <a:custGeom>
            <a:avLst/>
            <a:gdLst>
              <a:gd name="T0" fmla="*/ 369831 w 739775"/>
              <a:gd name="T1" fmla="*/ 0 h 739775"/>
              <a:gd name="T2" fmla="*/ 323440 w 739775"/>
              <a:gd name="T3" fmla="*/ 2881 h 739775"/>
              <a:gd name="T4" fmla="*/ 278768 w 739775"/>
              <a:gd name="T5" fmla="*/ 11295 h 739775"/>
              <a:gd name="T6" fmla="*/ 236163 w 739775"/>
              <a:gd name="T7" fmla="*/ 24894 h 739775"/>
              <a:gd name="T8" fmla="*/ 195970 w 739775"/>
              <a:gd name="T9" fmla="*/ 43333 h 739775"/>
              <a:gd name="T10" fmla="*/ 158537 w 739775"/>
              <a:gd name="T11" fmla="*/ 66263 h 739775"/>
              <a:gd name="T12" fmla="*/ 124210 w 739775"/>
              <a:gd name="T13" fmla="*/ 93339 h 739775"/>
              <a:gd name="T14" fmla="*/ 93335 w 739775"/>
              <a:gd name="T15" fmla="*/ 124214 h 739775"/>
              <a:gd name="T16" fmla="*/ 66260 w 739775"/>
              <a:gd name="T17" fmla="*/ 158542 h 739775"/>
              <a:gd name="T18" fmla="*/ 43330 w 739775"/>
              <a:gd name="T19" fmla="*/ 195975 h 739775"/>
              <a:gd name="T20" fmla="*/ 24893 w 739775"/>
              <a:gd name="T21" fmla="*/ 236167 h 739775"/>
              <a:gd name="T22" fmla="*/ 11294 w 739775"/>
              <a:gd name="T23" fmla="*/ 278771 h 739775"/>
              <a:gd name="T24" fmla="*/ 2881 w 739775"/>
              <a:gd name="T25" fmla="*/ 323442 h 739775"/>
              <a:gd name="T26" fmla="*/ 0 w 739775"/>
              <a:gd name="T27" fmla="*/ 369831 h 739775"/>
              <a:gd name="T28" fmla="*/ 2881 w 739775"/>
              <a:gd name="T29" fmla="*/ 416223 h 739775"/>
              <a:gd name="T30" fmla="*/ 11294 w 739775"/>
              <a:gd name="T31" fmla="*/ 460894 h 739775"/>
              <a:gd name="T32" fmla="*/ 24893 w 739775"/>
              <a:gd name="T33" fmla="*/ 503500 h 739775"/>
              <a:gd name="T34" fmla="*/ 43330 w 739775"/>
              <a:gd name="T35" fmla="*/ 543692 h 739775"/>
              <a:gd name="T36" fmla="*/ 66260 w 739775"/>
              <a:gd name="T37" fmla="*/ 581125 h 739775"/>
              <a:gd name="T38" fmla="*/ 93335 w 739775"/>
              <a:gd name="T39" fmla="*/ 615452 h 739775"/>
              <a:gd name="T40" fmla="*/ 124210 w 739775"/>
              <a:gd name="T41" fmla="*/ 646327 h 739775"/>
              <a:gd name="T42" fmla="*/ 158537 w 739775"/>
              <a:gd name="T43" fmla="*/ 673402 h 739775"/>
              <a:gd name="T44" fmla="*/ 195970 w 739775"/>
              <a:gd name="T45" fmla="*/ 696332 h 739775"/>
              <a:gd name="T46" fmla="*/ 236163 w 739775"/>
              <a:gd name="T47" fmla="*/ 714769 h 739775"/>
              <a:gd name="T48" fmla="*/ 278768 w 739775"/>
              <a:gd name="T49" fmla="*/ 728368 h 739775"/>
              <a:gd name="T50" fmla="*/ 323440 w 739775"/>
              <a:gd name="T51" fmla="*/ 736781 h 739775"/>
              <a:gd name="T52" fmla="*/ 369831 w 739775"/>
              <a:gd name="T53" fmla="*/ 739663 h 739775"/>
              <a:gd name="T54" fmla="*/ 416223 w 739775"/>
              <a:gd name="T55" fmla="*/ 736781 h 739775"/>
              <a:gd name="T56" fmla="*/ 460894 w 739775"/>
              <a:gd name="T57" fmla="*/ 728368 h 739775"/>
              <a:gd name="T58" fmla="*/ 503500 w 739775"/>
              <a:gd name="T59" fmla="*/ 714769 h 739775"/>
              <a:gd name="T60" fmla="*/ 543692 w 739775"/>
              <a:gd name="T61" fmla="*/ 696332 h 739775"/>
              <a:gd name="T62" fmla="*/ 581125 w 739775"/>
              <a:gd name="T63" fmla="*/ 673402 h 739775"/>
              <a:gd name="T64" fmla="*/ 615452 w 739775"/>
              <a:gd name="T65" fmla="*/ 646327 h 739775"/>
              <a:gd name="T66" fmla="*/ 646327 w 739775"/>
              <a:gd name="T67" fmla="*/ 615452 h 739775"/>
              <a:gd name="T68" fmla="*/ 673402 w 739775"/>
              <a:gd name="T69" fmla="*/ 581125 h 739775"/>
              <a:gd name="T70" fmla="*/ 696332 w 739775"/>
              <a:gd name="T71" fmla="*/ 543692 h 739775"/>
              <a:gd name="T72" fmla="*/ 714769 w 739775"/>
              <a:gd name="T73" fmla="*/ 503500 h 739775"/>
              <a:gd name="T74" fmla="*/ 728368 w 739775"/>
              <a:gd name="T75" fmla="*/ 460894 h 739775"/>
              <a:gd name="T76" fmla="*/ 736781 w 739775"/>
              <a:gd name="T77" fmla="*/ 416223 h 739775"/>
              <a:gd name="T78" fmla="*/ 739663 w 739775"/>
              <a:gd name="T79" fmla="*/ 369831 h 739775"/>
              <a:gd name="T80" fmla="*/ 736781 w 739775"/>
              <a:gd name="T81" fmla="*/ 323442 h 739775"/>
              <a:gd name="T82" fmla="*/ 728368 w 739775"/>
              <a:gd name="T83" fmla="*/ 278771 h 739775"/>
              <a:gd name="T84" fmla="*/ 714769 w 739775"/>
              <a:gd name="T85" fmla="*/ 236167 h 739775"/>
              <a:gd name="T86" fmla="*/ 696332 w 739775"/>
              <a:gd name="T87" fmla="*/ 195975 h 739775"/>
              <a:gd name="T88" fmla="*/ 673402 w 739775"/>
              <a:gd name="T89" fmla="*/ 158542 h 739775"/>
              <a:gd name="T90" fmla="*/ 646327 w 739775"/>
              <a:gd name="T91" fmla="*/ 124214 h 739775"/>
              <a:gd name="T92" fmla="*/ 615452 w 739775"/>
              <a:gd name="T93" fmla="*/ 93339 h 739775"/>
              <a:gd name="T94" fmla="*/ 581125 w 739775"/>
              <a:gd name="T95" fmla="*/ 66263 h 739775"/>
              <a:gd name="T96" fmla="*/ 543692 w 739775"/>
              <a:gd name="T97" fmla="*/ 43333 h 739775"/>
              <a:gd name="T98" fmla="*/ 503500 w 739775"/>
              <a:gd name="T99" fmla="*/ 24894 h 739775"/>
              <a:gd name="T100" fmla="*/ 460894 w 739775"/>
              <a:gd name="T101" fmla="*/ 11295 h 739775"/>
              <a:gd name="T102" fmla="*/ 416223 w 739775"/>
              <a:gd name="T103" fmla="*/ 2881 h 739775"/>
              <a:gd name="T104" fmla="*/ 369831 w 739775"/>
              <a:gd name="T105" fmla="*/ 0 h 7397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739775" h="739775">
                <a:moveTo>
                  <a:pt x="369831" y="0"/>
                </a:moveTo>
                <a:lnTo>
                  <a:pt x="323440" y="2881"/>
                </a:lnTo>
                <a:lnTo>
                  <a:pt x="278768" y="11295"/>
                </a:lnTo>
                <a:lnTo>
                  <a:pt x="236163" y="24894"/>
                </a:lnTo>
                <a:lnTo>
                  <a:pt x="195970" y="43333"/>
                </a:lnTo>
                <a:lnTo>
                  <a:pt x="158537" y="66263"/>
                </a:lnTo>
                <a:lnTo>
                  <a:pt x="124210" y="93339"/>
                </a:lnTo>
                <a:lnTo>
                  <a:pt x="93335" y="124214"/>
                </a:lnTo>
                <a:lnTo>
                  <a:pt x="66260" y="158542"/>
                </a:lnTo>
                <a:lnTo>
                  <a:pt x="43330" y="195975"/>
                </a:lnTo>
                <a:lnTo>
                  <a:pt x="24893" y="236167"/>
                </a:lnTo>
                <a:lnTo>
                  <a:pt x="11294" y="278771"/>
                </a:lnTo>
                <a:lnTo>
                  <a:pt x="2881" y="323442"/>
                </a:lnTo>
                <a:lnTo>
                  <a:pt x="0" y="369831"/>
                </a:lnTo>
                <a:lnTo>
                  <a:pt x="2881" y="416223"/>
                </a:lnTo>
                <a:lnTo>
                  <a:pt x="11294" y="460894"/>
                </a:lnTo>
                <a:lnTo>
                  <a:pt x="24893" y="503500"/>
                </a:lnTo>
                <a:lnTo>
                  <a:pt x="43330" y="543692"/>
                </a:lnTo>
                <a:lnTo>
                  <a:pt x="66260" y="581125"/>
                </a:lnTo>
                <a:lnTo>
                  <a:pt x="93335" y="615452"/>
                </a:lnTo>
                <a:lnTo>
                  <a:pt x="124210" y="646327"/>
                </a:lnTo>
                <a:lnTo>
                  <a:pt x="158537" y="673402"/>
                </a:lnTo>
                <a:lnTo>
                  <a:pt x="195970" y="696332"/>
                </a:lnTo>
                <a:lnTo>
                  <a:pt x="236163" y="714769"/>
                </a:lnTo>
                <a:lnTo>
                  <a:pt x="278768" y="728368"/>
                </a:lnTo>
                <a:lnTo>
                  <a:pt x="323440" y="736781"/>
                </a:lnTo>
                <a:lnTo>
                  <a:pt x="369831" y="739663"/>
                </a:lnTo>
                <a:lnTo>
                  <a:pt x="416223" y="736781"/>
                </a:lnTo>
                <a:lnTo>
                  <a:pt x="460894" y="728368"/>
                </a:lnTo>
                <a:lnTo>
                  <a:pt x="503500" y="714769"/>
                </a:lnTo>
                <a:lnTo>
                  <a:pt x="543692" y="696332"/>
                </a:lnTo>
                <a:lnTo>
                  <a:pt x="581125" y="673402"/>
                </a:lnTo>
                <a:lnTo>
                  <a:pt x="615452" y="646327"/>
                </a:lnTo>
                <a:lnTo>
                  <a:pt x="646327" y="615452"/>
                </a:lnTo>
                <a:lnTo>
                  <a:pt x="673402" y="581125"/>
                </a:lnTo>
                <a:lnTo>
                  <a:pt x="696332" y="543692"/>
                </a:lnTo>
                <a:lnTo>
                  <a:pt x="714769" y="503500"/>
                </a:lnTo>
                <a:lnTo>
                  <a:pt x="728368" y="460894"/>
                </a:lnTo>
                <a:lnTo>
                  <a:pt x="736781" y="416223"/>
                </a:lnTo>
                <a:lnTo>
                  <a:pt x="739663" y="369831"/>
                </a:lnTo>
                <a:lnTo>
                  <a:pt x="736781" y="323442"/>
                </a:lnTo>
                <a:lnTo>
                  <a:pt x="728368" y="278771"/>
                </a:lnTo>
                <a:lnTo>
                  <a:pt x="714769" y="236167"/>
                </a:lnTo>
                <a:lnTo>
                  <a:pt x="696332" y="195975"/>
                </a:lnTo>
                <a:lnTo>
                  <a:pt x="673402" y="158542"/>
                </a:lnTo>
                <a:lnTo>
                  <a:pt x="646327" y="124214"/>
                </a:lnTo>
                <a:lnTo>
                  <a:pt x="615452" y="93339"/>
                </a:lnTo>
                <a:lnTo>
                  <a:pt x="581125" y="66263"/>
                </a:lnTo>
                <a:lnTo>
                  <a:pt x="543692" y="43333"/>
                </a:lnTo>
                <a:lnTo>
                  <a:pt x="503500" y="24894"/>
                </a:lnTo>
                <a:lnTo>
                  <a:pt x="460894" y="11295"/>
                </a:lnTo>
                <a:lnTo>
                  <a:pt x="416223" y="2881"/>
                </a:lnTo>
                <a:lnTo>
                  <a:pt x="369831" y="0"/>
                </a:lnTo>
                <a:close/>
              </a:path>
            </a:pathLst>
          </a:custGeom>
          <a:solidFill>
            <a:srgbClr val="E5E5E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en-AU"/>
          </a:p>
        </p:txBody>
      </p:sp>
      <p:sp>
        <p:nvSpPr>
          <p:cNvPr id="24" name="object 49">
            <a:extLst>
              <a:ext uri="{FF2B5EF4-FFF2-40B4-BE49-F238E27FC236}">
                <a16:creationId xmlns:a16="http://schemas.microsoft.com/office/drawing/2014/main" id="{E6B89143-7BA4-A1D3-3CB4-A6C5E1D2FB60}"/>
              </a:ext>
            </a:extLst>
          </p:cNvPr>
          <p:cNvSpPr txBox="1"/>
          <p:nvPr userDrawn="1"/>
        </p:nvSpPr>
        <p:spPr>
          <a:xfrm>
            <a:off x="16679863" y="6540500"/>
            <a:ext cx="269875" cy="176213"/>
          </a:xfrm>
          <a:prstGeom prst="rect">
            <a:avLst/>
          </a:prstGeom>
        </p:spPr>
        <p:txBody>
          <a:bodyPr lIns="0" tIns="15875" rIns="0" bIns="0">
            <a:spAutoFit/>
          </a:bodyPr>
          <a:lstStyle/>
          <a:p>
            <a:pPr marL="12700" algn="ctr" eaLnBrk="1" fontAlgn="auto" hangingPunct="1">
              <a:spcBef>
                <a:spcPts val="125"/>
              </a:spcBef>
              <a:spcAft>
                <a:spcPts val="0"/>
              </a:spcAft>
              <a:defRPr/>
            </a:pPr>
            <a:r>
              <a:rPr lang="it-IT" sz="1050" b="1" spc="130" dirty="0">
                <a:latin typeface="Helvetica Neue"/>
                <a:cs typeface="Helvetica Neue"/>
              </a:rPr>
              <a:t>V</a:t>
            </a:r>
            <a:r>
              <a:rPr lang="it-IT" sz="1050" b="1" spc="-65" dirty="0">
                <a:latin typeface="Helvetica Neue"/>
                <a:cs typeface="Helvetica Neue"/>
              </a:rPr>
              <a:t>W</a:t>
            </a:r>
            <a:endParaRPr lang="it-IT" sz="1050" dirty="0">
              <a:latin typeface="Helvetica Neue"/>
              <a:cs typeface="Helvetica Neue"/>
            </a:endParaRPr>
          </a:p>
        </p:txBody>
      </p:sp>
      <p:sp>
        <p:nvSpPr>
          <p:cNvPr id="26" name="object 52">
            <a:extLst>
              <a:ext uri="{FF2B5EF4-FFF2-40B4-BE49-F238E27FC236}">
                <a16:creationId xmlns:a16="http://schemas.microsoft.com/office/drawing/2014/main" id="{18AE6CD1-D7B7-CC98-41AD-6CB27F9B50F7}"/>
              </a:ext>
            </a:extLst>
          </p:cNvPr>
          <p:cNvSpPr>
            <a:spLocks/>
          </p:cNvSpPr>
          <p:nvPr userDrawn="1"/>
        </p:nvSpPr>
        <p:spPr bwMode="auto">
          <a:xfrm>
            <a:off x="788988" y="8207375"/>
            <a:ext cx="2946400" cy="0"/>
          </a:xfrm>
          <a:custGeom>
            <a:avLst/>
            <a:gdLst>
              <a:gd name="T0" fmla="*/ 0 w 2947035"/>
              <a:gd name="T1" fmla="*/ 2946737 w 2947035"/>
            </a:gdLst>
            <a:ahLst/>
            <a:cxnLst>
              <a:cxn ang="0">
                <a:pos x="T0" y="0"/>
              </a:cxn>
              <a:cxn ang="0">
                <a:pos x="T1" y="0"/>
              </a:cxn>
            </a:cxnLst>
            <a:rect l="0" t="0" r="r" b="b"/>
            <a:pathLst>
              <a:path w="2947035">
                <a:moveTo>
                  <a:pt x="0" y="0"/>
                </a:moveTo>
                <a:lnTo>
                  <a:pt x="2946737" y="0"/>
                </a:lnTo>
              </a:path>
            </a:pathLst>
          </a:custGeom>
          <a:noFill/>
          <a:ln w="6984">
            <a:solidFill>
              <a:srgbClr val="666666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endParaRPr lang="en-AU"/>
          </a:p>
        </p:txBody>
      </p:sp>
      <p:sp>
        <p:nvSpPr>
          <p:cNvPr id="27" name="object 53">
            <a:extLst>
              <a:ext uri="{FF2B5EF4-FFF2-40B4-BE49-F238E27FC236}">
                <a16:creationId xmlns:a16="http://schemas.microsoft.com/office/drawing/2014/main" id="{2A94C1F0-769D-A195-A408-4C69F2ACF6E0}"/>
              </a:ext>
            </a:extLst>
          </p:cNvPr>
          <p:cNvSpPr>
            <a:spLocks/>
          </p:cNvSpPr>
          <p:nvPr userDrawn="1"/>
        </p:nvSpPr>
        <p:spPr bwMode="auto">
          <a:xfrm>
            <a:off x="3906838" y="8207375"/>
            <a:ext cx="2947987" cy="0"/>
          </a:xfrm>
          <a:custGeom>
            <a:avLst/>
            <a:gdLst>
              <a:gd name="T0" fmla="*/ 0 w 2947034"/>
              <a:gd name="T1" fmla="*/ 2946737 w 2947034"/>
            </a:gdLst>
            <a:ahLst/>
            <a:cxnLst>
              <a:cxn ang="0">
                <a:pos x="T0" y="0"/>
              </a:cxn>
              <a:cxn ang="0">
                <a:pos x="T1" y="0"/>
              </a:cxn>
            </a:cxnLst>
            <a:rect l="0" t="0" r="r" b="b"/>
            <a:pathLst>
              <a:path w="2947034">
                <a:moveTo>
                  <a:pt x="0" y="0"/>
                </a:moveTo>
                <a:lnTo>
                  <a:pt x="2946737" y="0"/>
                </a:lnTo>
              </a:path>
            </a:pathLst>
          </a:custGeom>
          <a:noFill/>
          <a:ln w="6984">
            <a:solidFill>
              <a:srgbClr val="666666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endParaRPr lang="en-AU"/>
          </a:p>
        </p:txBody>
      </p:sp>
      <p:sp>
        <p:nvSpPr>
          <p:cNvPr id="28" name="object 54">
            <a:extLst>
              <a:ext uri="{FF2B5EF4-FFF2-40B4-BE49-F238E27FC236}">
                <a16:creationId xmlns:a16="http://schemas.microsoft.com/office/drawing/2014/main" id="{4008C7AE-BB79-B422-3264-CCB9A9F86B9D}"/>
              </a:ext>
            </a:extLst>
          </p:cNvPr>
          <p:cNvSpPr>
            <a:spLocks/>
          </p:cNvSpPr>
          <p:nvPr userDrawn="1"/>
        </p:nvSpPr>
        <p:spPr bwMode="auto">
          <a:xfrm>
            <a:off x="7027863" y="8207375"/>
            <a:ext cx="2946400" cy="0"/>
          </a:xfrm>
          <a:custGeom>
            <a:avLst/>
            <a:gdLst>
              <a:gd name="T0" fmla="*/ 0 w 2947034"/>
              <a:gd name="T1" fmla="*/ 2946737 w 2947034"/>
            </a:gdLst>
            <a:ahLst/>
            <a:cxnLst>
              <a:cxn ang="0">
                <a:pos x="T0" y="0"/>
              </a:cxn>
              <a:cxn ang="0">
                <a:pos x="T1" y="0"/>
              </a:cxn>
            </a:cxnLst>
            <a:rect l="0" t="0" r="r" b="b"/>
            <a:pathLst>
              <a:path w="2947034">
                <a:moveTo>
                  <a:pt x="0" y="0"/>
                </a:moveTo>
                <a:lnTo>
                  <a:pt x="2946737" y="0"/>
                </a:lnTo>
              </a:path>
            </a:pathLst>
          </a:custGeom>
          <a:noFill/>
          <a:ln w="6984">
            <a:solidFill>
              <a:srgbClr val="666666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endParaRPr lang="en-AU"/>
          </a:p>
        </p:txBody>
      </p:sp>
      <p:sp>
        <p:nvSpPr>
          <p:cNvPr id="29" name="object 55">
            <a:extLst>
              <a:ext uri="{FF2B5EF4-FFF2-40B4-BE49-F238E27FC236}">
                <a16:creationId xmlns:a16="http://schemas.microsoft.com/office/drawing/2014/main" id="{F43994BE-90DD-B859-0CE9-A73CF6AE5919}"/>
              </a:ext>
            </a:extLst>
          </p:cNvPr>
          <p:cNvSpPr>
            <a:spLocks/>
          </p:cNvSpPr>
          <p:nvPr userDrawn="1"/>
        </p:nvSpPr>
        <p:spPr bwMode="auto">
          <a:xfrm>
            <a:off x="10147300" y="8207375"/>
            <a:ext cx="2946400" cy="0"/>
          </a:xfrm>
          <a:custGeom>
            <a:avLst/>
            <a:gdLst>
              <a:gd name="T0" fmla="*/ 0 w 2947034"/>
              <a:gd name="T1" fmla="*/ 2946737 w 2947034"/>
            </a:gdLst>
            <a:ahLst/>
            <a:cxnLst>
              <a:cxn ang="0">
                <a:pos x="T0" y="0"/>
              </a:cxn>
              <a:cxn ang="0">
                <a:pos x="T1" y="0"/>
              </a:cxn>
            </a:cxnLst>
            <a:rect l="0" t="0" r="r" b="b"/>
            <a:pathLst>
              <a:path w="2947034">
                <a:moveTo>
                  <a:pt x="0" y="0"/>
                </a:moveTo>
                <a:lnTo>
                  <a:pt x="2946737" y="0"/>
                </a:lnTo>
              </a:path>
            </a:pathLst>
          </a:custGeom>
          <a:noFill/>
          <a:ln w="6984">
            <a:solidFill>
              <a:srgbClr val="666666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endParaRPr lang="en-AU"/>
          </a:p>
        </p:txBody>
      </p:sp>
      <p:sp>
        <p:nvSpPr>
          <p:cNvPr id="30" name="object 56">
            <a:extLst>
              <a:ext uri="{FF2B5EF4-FFF2-40B4-BE49-F238E27FC236}">
                <a16:creationId xmlns:a16="http://schemas.microsoft.com/office/drawing/2014/main" id="{143606D6-E7BA-5035-3992-0785D0E170E8}"/>
              </a:ext>
            </a:extLst>
          </p:cNvPr>
          <p:cNvSpPr>
            <a:spLocks/>
          </p:cNvSpPr>
          <p:nvPr userDrawn="1"/>
        </p:nvSpPr>
        <p:spPr bwMode="auto">
          <a:xfrm>
            <a:off x="13266738" y="8207375"/>
            <a:ext cx="2946400" cy="0"/>
          </a:xfrm>
          <a:custGeom>
            <a:avLst/>
            <a:gdLst>
              <a:gd name="T0" fmla="*/ 0 w 2947034"/>
              <a:gd name="T1" fmla="*/ 2946737 w 2947034"/>
            </a:gdLst>
            <a:ahLst/>
            <a:cxnLst>
              <a:cxn ang="0">
                <a:pos x="T0" y="0"/>
              </a:cxn>
              <a:cxn ang="0">
                <a:pos x="T1" y="0"/>
              </a:cxn>
            </a:cxnLst>
            <a:rect l="0" t="0" r="r" b="b"/>
            <a:pathLst>
              <a:path w="2947034">
                <a:moveTo>
                  <a:pt x="0" y="0"/>
                </a:moveTo>
                <a:lnTo>
                  <a:pt x="2946737" y="0"/>
                </a:lnTo>
              </a:path>
            </a:pathLst>
          </a:custGeom>
          <a:noFill/>
          <a:ln w="6984">
            <a:solidFill>
              <a:srgbClr val="666666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endParaRPr lang="en-AU"/>
          </a:p>
        </p:txBody>
      </p:sp>
      <p:sp>
        <p:nvSpPr>
          <p:cNvPr id="31" name="object 57">
            <a:extLst>
              <a:ext uri="{FF2B5EF4-FFF2-40B4-BE49-F238E27FC236}">
                <a16:creationId xmlns:a16="http://schemas.microsoft.com/office/drawing/2014/main" id="{129AC67D-3684-37AC-D3F5-C418E8A9E89C}"/>
              </a:ext>
            </a:extLst>
          </p:cNvPr>
          <p:cNvSpPr>
            <a:spLocks/>
          </p:cNvSpPr>
          <p:nvPr userDrawn="1"/>
        </p:nvSpPr>
        <p:spPr bwMode="auto">
          <a:xfrm>
            <a:off x="16386175" y="8207375"/>
            <a:ext cx="2946400" cy="0"/>
          </a:xfrm>
          <a:custGeom>
            <a:avLst/>
            <a:gdLst>
              <a:gd name="T0" fmla="*/ 0 w 2947034"/>
              <a:gd name="T1" fmla="*/ 2946737 w 2947034"/>
            </a:gdLst>
            <a:ahLst/>
            <a:cxnLst>
              <a:cxn ang="0">
                <a:pos x="T0" y="0"/>
              </a:cxn>
              <a:cxn ang="0">
                <a:pos x="T1" y="0"/>
              </a:cxn>
            </a:cxnLst>
            <a:rect l="0" t="0" r="r" b="b"/>
            <a:pathLst>
              <a:path w="2947034">
                <a:moveTo>
                  <a:pt x="0" y="0"/>
                </a:moveTo>
                <a:lnTo>
                  <a:pt x="2946737" y="0"/>
                </a:lnTo>
              </a:path>
            </a:pathLst>
          </a:custGeom>
          <a:noFill/>
          <a:ln w="6984">
            <a:solidFill>
              <a:srgbClr val="666666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endParaRPr lang="en-AU"/>
          </a:p>
        </p:txBody>
      </p:sp>
      <p:sp>
        <p:nvSpPr>
          <p:cNvPr id="32" name="object 58">
            <a:extLst>
              <a:ext uri="{FF2B5EF4-FFF2-40B4-BE49-F238E27FC236}">
                <a16:creationId xmlns:a16="http://schemas.microsoft.com/office/drawing/2014/main" id="{39235453-8FA4-7A6F-4136-DE8EF83C98FF}"/>
              </a:ext>
            </a:extLst>
          </p:cNvPr>
          <p:cNvSpPr>
            <a:spLocks/>
          </p:cNvSpPr>
          <p:nvPr userDrawn="1"/>
        </p:nvSpPr>
        <p:spPr bwMode="auto">
          <a:xfrm>
            <a:off x="3821113" y="5957888"/>
            <a:ext cx="0" cy="4362450"/>
          </a:xfrm>
          <a:custGeom>
            <a:avLst/>
            <a:gdLst>
              <a:gd name="T0" fmla="*/ 0 h 4362450"/>
              <a:gd name="T1" fmla="*/ 4361867 h 4362450"/>
            </a:gdLst>
            <a:ahLst/>
            <a:cxnLst>
              <a:cxn ang="0">
                <a:pos x="0" y="T0"/>
              </a:cxn>
              <a:cxn ang="0">
                <a:pos x="0" y="T1"/>
              </a:cxn>
            </a:cxnLst>
            <a:rect l="0" t="0" r="r" b="b"/>
            <a:pathLst>
              <a:path h="4362450">
                <a:moveTo>
                  <a:pt x="0" y="0"/>
                </a:moveTo>
                <a:lnTo>
                  <a:pt x="0" y="4361867"/>
                </a:lnTo>
              </a:path>
            </a:pathLst>
          </a:custGeom>
          <a:noFill/>
          <a:ln w="6984">
            <a:solidFill>
              <a:srgbClr val="666666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endParaRPr lang="en-AU"/>
          </a:p>
        </p:txBody>
      </p:sp>
      <p:sp>
        <p:nvSpPr>
          <p:cNvPr id="33" name="object 59">
            <a:extLst>
              <a:ext uri="{FF2B5EF4-FFF2-40B4-BE49-F238E27FC236}">
                <a16:creationId xmlns:a16="http://schemas.microsoft.com/office/drawing/2014/main" id="{99C19EE6-D6E0-5227-29B2-4557ED1C6D9E}"/>
              </a:ext>
            </a:extLst>
          </p:cNvPr>
          <p:cNvSpPr>
            <a:spLocks/>
          </p:cNvSpPr>
          <p:nvPr userDrawn="1"/>
        </p:nvSpPr>
        <p:spPr bwMode="auto">
          <a:xfrm>
            <a:off x="6940550" y="5957888"/>
            <a:ext cx="0" cy="4362450"/>
          </a:xfrm>
          <a:custGeom>
            <a:avLst/>
            <a:gdLst>
              <a:gd name="T0" fmla="*/ 0 h 4362450"/>
              <a:gd name="T1" fmla="*/ 4361867 h 4362450"/>
            </a:gdLst>
            <a:ahLst/>
            <a:cxnLst>
              <a:cxn ang="0">
                <a:pos x="0" y="T0"/>
              </a:cxn>
              <a:cxn ang="0">
                <a:pos x="0" y="T1"/>
              </a:cxn>
            </a:cxnLst>
            <a:rect l="0" t="0" r="r" b="b"/>
            <a:pathLst>
              <a:path h="4362450">
                <a:moveTo>
                  <a:pt x="0" y="0"/>
                </a:moveTo>
                <a:lnTo>
                  <a:pt x="0" y="4361867"/>
                </a:lnTo>
              </a:path>
            </a:pathLst>
          </a:custGeom>
          <a:noFill/>
          <a:ln w="6984">
            <a:solidFill>
              <a:srgbClr val="666666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endParaRPr lang="en-AU"/>
          </a:p>
        </p:txBody>
      </p:sp>
      <p:sp>
        <p:nvSpPr>
          <p:cNvPr id="34" name="object 60">
            <a:extLst>
              <a:ext uri="{FF2B5EF4-FFF2-40B4-BE49-F238E27FC236}">
                <a16:creationId xmlns:a16="http://schemas.microsoft.com/office/drawing/2014/main" id="{362A47C0-F278-0AAE-099E-5FBEF83B9BBE}"/>
              </a:ext>
            </a:extLst>
          </p:cNvPr>
          <p:cNvSpPr>
            <a:spLocks/>
          </p:cNvSpPr>
          <p:nvPr userDrawn="1"/>
        </p:nvSpPr>
        <p:spPr bwMode="auto">
          <a:xfrm>
            <a:off x="10059988" y="5957888"/>
            <a:ext cx="0" cy="4362450"/>
          </a:xfrm>
          <a:custGeom>
            <a:avLst/>
            <a:gdLst>
              <a:gd name="T0" fmla="*/ 0 h 4362450"/>
              <a:gd name="T1" fmla="*/ 4361867 h 4362450"/>
            </a:gdLst>
            <a:ahLst/>
            <a:cxnLst>
              <a:cxn ang="0">
                <a:pos x="0" y="T0"/>
              </a:cxn>
              <a:cxn ang="0">
                <a:pos x="0" y="T1"/>
              </a:cxn>
            </a:cxnLst>
            <a:rect l="0" t="0" r="r" b="b"/>
            <a:pathLst>
              <a:path h="4362450">
                <a:moveTo>
                  <a:pt x="0" y="0"/>
                </a:moveTo>
                <a:lnTo>
                  <a:pt x="0" y="4361867"/>
                </a:lnTo>
              </a:path>
            </a:pathLst>
          </a:custGeom>
          <a:noFill/>
          <a:ln w="6984">
            <a:solidFill>
              <a:srgbClr val="666666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endParaRPr lang="en-AU"/>
          </a:p>
        </p:txBody>
      </p:sp>
      <p:sp>
        <p:nvSpPr>
          <p:cNvPr id="35" name="object 61">
            <a:extLst>
              <a:ext uri="{FF2B5EF4-FFF2-40B4-BE49-F238E27FC236}">
                <a16:creationId xmlns:a16="http://schemas.microsoft.com/office/drawing/2014/main" id="{C8460D0E-84AF-16FF-502A-39FCBFB22197}"/>
              </a:ext>
            </a:extLst>
          </p:cNvPr>
          <p:cNvSpPr>
            <a:spLocks/>
          </p:cNvSpPr>
          <p:nvPr userDrawn="1"/>
        </p:nvSpPr>
        <p:spPr bwMode="auto">
          <a:xfrm>
            <a:off x="13179425" y="5957888"/>
            <a:ext cx="0" cy="4362450"/>
          </a:xfrm>
          <a:custGeom>
            <a:avLst/>
            <a:gdLst>
              <a:gd name="T0" fmla="*/ 0 h 4362450"/>
              <a:gd name="T1" fmla="*/ 4361867 h 4362450"/>
            </a:gdLst>
            <a:ahLst/>
            <a:cxnLst>
              <a:cxn ang="0">
                <a:pos x="0" y="T0"/>
              </a:cxn>
              <a:cxn ang="0">
                <a:pos x="0" y="T1"/>
              </a:cxn>
            </a:cxnLst>
            <a:rect l="0" t="0" r="r" b="b"/>
            <a:pathLst>
              <a:path h="4362450">
                <a:moveTo>
                  <a:pt x="0" y="0"/>
                </a:moveTo>
                <a:lnTo>
                  <a:pt x="0" y="4361867"/>
                </a:lnTo>
              </a:path>
            </a:pathLst>
          </a:custGeom>
          <a:noFill/>
          <a:ln w="6984">
            <a:solidFill>
              <a:srgbClr val="666666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endParaRPr lang="en-AU"/>
          </a:p>
        </p:txBody>
      </p:sp>
      <p:sp>
        <p:nvSpPr>
          <p:cNvPr id="36" name="object 62">
            <a:extLst>
              <a:ext uri="{FF2B5EF4-FFF2-40B4-BE49-F238E27FC236}">
                <a16:creationId xmlns:a16="http://schemas.microsoft.com/office/drawing/2014/main" id="{03D002F2-9186-D578-C1F7-963A5B751BF9}"/>
              </a:ext>
            </a:extLst>
          </p:cNvPr>
          <p:cNvSpPr>
            <a:spLocks/>
          </p:cNvSpPr>
          <p:nvPr userDrawn="1"/>
        </p:nvSpPr>
        <p:spPr bwMode="auto">
          <a:xfrm>
            <a:off x="16298863" y="5957888"/>
            <a:ext cx="0" cy="4362450"/>
          </a:xfrm>
          <a:custGeom>
            <a:avLst/>
            <a:gdLst>
              <a:gd name="T0" fmla="*/ 0 h 4362450"/>
              <a:gd name="T1" fmla="*/ 4361867 h 4362450"/>
            </a:gdLst>
            <a:ahLst/>
            <a:cxnLst>
              <a:cxn ang="0">
                <a:pos x="0" y="T0"/>
              </a:cxn>
              <a:cxn ang="0">
                <a:pos x="0" y="T1"/>
              </a:cxn>
            </a:cxnLst>
            <a:rect l="0" t="0" r="r" b="b"/>
            <a:pathLst>
              <a:path h="4362450">
                <a:moveTo>
                  <a:pt x="0" y="0"/>
                </a:moveTo>
                <a:lnTo>
                  <a:pt x="0" y="4361867"/>
                </a:lnTo>
              </a:path>
            </a:pathLst>
          </a:custGeom>
          <a:noFill/>
          <a:ln w="6984">
            <a:solidFill>
              <a:srgbClr val="666666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endParaRPr lang="en-AU"/>
          </a:p>
        </p:txBody>
      </p:sp>
      <p:sp>
        <p:nvSpPr>
          <p:cNvPr id="37" name="object 32">
            <a:extLst>
              <a:ext uri="{FF2B5EF4-FFF2-40B4-BE49-F238E27FC236}">
                <a16:creationId xmlns:a16="http://schemas.microsoft.com/office/drawing/2014/main" id="{F533C4D2-420D-8DB1-E92B-FE66B0C44D6A}"/>
              </a:ext>
            </a:extLst>
          </p:cNvPr>
          <p:cNvSpPr>
            <a:spLocks/>
          </p:cNvSpPr>
          <p:nvPr userDrawn="1"/>
        </p:nvSpPr>
        <p:spPr bwMode="auto">
          <a:xfrm>
            <a:off x="8332788" y="6251575"/>
            <a:ext cx="739775" cy="739775"/>
          </a:xfrm>
          <a:custGeom>
            <a:avLst/>
            <a:gdLst>
              <a:gd name="T0" fmla="*/ 369831 w 739775"/>
              <a:gd name="T1" fmla="*/ 0 h 739775"/>
              <a:gd name="T2" fmla="*/ 323440 w 739775"/>
              <a:gd name="T3" fmla="*/ 2881 h 739775"/>
              <a:gd name="T4" fmla="*/ 278768 w 739775"/>
              <a:gd name="T5" fmla="*/ 11295 h 739775"/>
              <a:gd name="T6" fmla="*/ 236163 w 739775"/>
              <a:gd name="T7" fmla="*/ 24894 h 739775"/>
              <a:gd name="T8" fmla="*/ 195970 w 739775"/>
              <a:gd name="T9" fmla="*/ 43333 h 739775"/>
              <a:gd name="T10" fmla="*/ 158537 w 739775"/>
              <a:gd name="T11" fmla="*/ 66263 h 739775"/>
              <a:gd name="T12" fmla="*/ 124210 w 739775"/>
              <a:gd name="T13" fmla="*/ 93339 h 739775"/>
              <a:gd name="T14" fmla="*/ 93335 w 739775"/>
              <a:gd name="T15" fmla="*/ 124214 h 739775"/>
              <a:gd name="T16" fmla="*/ 66260 w 739775"/>
              <a:gd name="T17" fmla="*/ 158542 h 739775"/>
              <a:gd name="T18" fmla="*/ 43330 w 739775"/>
              <a:gd name="T19" fmla="*/ 195975 h 739775"/>
              <a:gd name="T20" fmla="*/ 24893 w 739775"/>
              <a:gd name="T21" fmla="*/ 236167 h 739775"/>
              <a:gd name="T22" fmla="*/ 11294 w 739775"/>
              <a:gd name="T23" fmla="*/ 278771 h 739775"/>
              <a:gd name="T24" fmla="*/ 2881 w 739775"/>
              <a:gd name="T25" fmla="*/ 323442 h 739775"/>
              <a:gd name="T26" fmla="*/ 0 w 739775"/>
              <a:gd name="T27" fmla="*/ 369831 h 739775"/>
              <a:gd name="T28" fmla="*/ 2881 w 739775"/>
              <a:gd name="T29" fmla="*/ 416223 h 739775"/>
              <a:gd name="T30" fmla="*/ 11294 w 739775"/>
              <a:gd name="T31" fmla="*/ 460894 h 739775"/>
              <a:gd name="T32" fmla="*/ 24893 w 739775"/>
              <a:gd name="T33" fmla="*/ 503500 h 739775"/>
              <a:gd name="T34" fmla="*/ 43330 w 739775"/>
              <a:gd name="T35" fmla="*/ 543692 h 739775"/>
              <a:gd name="T36" fmla="*/ 66260 w 739775"/>
              <a:gd name="T37" fmla="*/ 581125 h 739775"/>
              <a:gd name="T38" fmla="*/ 93335 w 739775"/>
              <a:gd name="T39" fmla="*/ 615452 h 739775"/>
              <a:gd name="T40" fmla="*/ 124210 w 739775"/>
              <a:gd name="T41" fmla="*/ 646327 h 739775"/>
              <a:gd name="T42" fmla="*/ 158537 w 739775"/>
              <a:gd name="T43" fmla="*/ 673402 h 739775"/>
              <a:gd name="T44" fmla="*/ 195970 w 739775"/>
              <a:gd name="T45" fmla="*/ 696332 h 739775"/>
              <a:gd name="T46" fmla="*/ 236163 w 739775"/>
              <a:gd name="T47" fmla="*/ 714769 h 739775"/>
              <a:gd name="T48" fmla="*/ 278768 w 739775"/>
              <a:gd name="T49" fmla="*/ 728368 h 739775"/>
              <a:gd name="T50" fmla="*/ 323440 w 739775"/>
              <a:gd name="T51" fmla="*/ 736781 h 739775"/>
              <a:gd name="T52" fmla="*/ 369831 w 739775"/>
              <a:gd name="T53" fmla="*/ 739663 h 739775"/>
              <a:gd name="T54" fmla="*/ 416223 w 739775"/>
              <a:gd name="T55" fmla="*/ 736781 h 739775"/>
              <a:gd name="T56" fmla="*/ 460894 w 739775"/>
              <a:gd name="T57" fmla="*/ 728368 h 739775"/>
              <a:gd name="T58" fmla="*/ 503500 w 739775"/>
              <a:gd name="T59" fmla="*/ 714769 h 739775"/>
              <a:gd name="T60" fmla="*/ 543692 w 739775"/>
              <a:gd name="T61" fmla="*/ 696332 h 739775"/>
              <a:gd name="T62" fmla="*/ 581125 w 739775"/>
              <a:gd name="T63" fmla="*/ 673402 h 739775"/>
              <a:gd name="T64" fmla="*/ 615452 w 739775"/>
              <a:gd name="T65" fmla="*/ 646327 h 739775"/>
              <a:gd name="T66" fmla="*/ 646327 w 739775"/>
              <a:gd name="T67" fmla="*/ 615452 h 739775"/>
              <a:gd name="T68" fmla="*/ 673402 w 739775"/>
              <a:gd name="T69" fmla="*/ 581125 h 739775"/>
              <a:gd name="T70" fmla="*/ 696332 w 739775"/>
              <a:gd name="T71" fmla="*/ 543692 h 739775"/>
              <a:gd name="T72" fmla="*/ 714769 w 739775"/>
              <a:gd name="T73" fmla="*/ 503500 h 739775"/>
              <a:gd name="T74" fmla="*/ 728368 w 739775"/>
              <a:gd name="T75" fmla="*/ 460894 h 739775"/>
              <a:gd name="T76" fmla="*/ 736781 w 739775"/>
              <a:gd name="T77" fmla="*/ 416223 h 739775"/>
              <a:gd name="T78" fmla="*/ 739663 w 739775"/>
              <a:gd name="T79" fmla="*/ 369831 h 739775"/>
              <a:gd name="T80" fmla="*/ 736781 w 739775"/>
              <a:gd name="T81" fmla="*/ 323442 h 739775"/>
              <a:gd name="T82" fmla="*/ 728368 w 739775"/>
              <a:gd name="T83" fmla="*/ 278771 h 739775"/>
              <a:gd name="T84" fmla="*/ 714769 w 739775"/>
              <a:gd name="T85" fmla="*/ 236167 h 739775"/>
              <a:gd name="T86" fmla="*/ 696332 w 739775"/>
              <a:gd name="T87" fmla="*/ 195975 h 739775"/>
              <a:gd name="T88" fmla="*/ 673402 w 739775"/>
              <a:gd name="T89" fmla="*/ 158542 h 739775"/>
              <a:gd name="T90" fmla="*/ 646327 w 739775"/>
              <a:gd name="T91" fmla="*/ 124214 h 739775"/>
              <a:gd name="T92" fmla="*/ 615452 w 739775"/>
              <a:gd name="T93" fmla="*/ 93339 h 739775"/>
              <a:gd name="T94" fmla="*/ 581125 w 739775"/>
              <a:gd name="T95" fmla="*/ 66263 h 739775"/>
              <a:gd name="T96" fmla="*/ 543692 w 739775"/>
              <a:gd name="T97" fmla="*/ 43333 h 739775"/>
              <a:gd name="T98" fmla="*/ 503500 w 739775"/>
              <a:gd name="T99" fmla="*/ 24894 h 739775"/>
              <a:gd name="T100" fmla="*/ 460894 w 739775"/>
              <a:gd name="T101" fmla="*/ 11295 h 739775"/>
              <a:gd name="T102" fmla="*/ 416223 w 739775"/>
              <a:gd name="T103" fmla="*/ 2881 h 739775"/>
              <a:gd name="T104" fmla="*/ 369831 w 739775"/>
              <a:gd name="T105" fmla="*/ 0 h 7397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739775" h="739775">
                <a:moveTo>
                  <a:pt x="369831" y="0"/>
                </a:moveTo>
                <a:lnTo>
                  <a:pt x="323440" y="2881"/>
                </a:lnTo>
                <a:lnTo>
                  <a:pt x="278768" y="11295"/>
                </a:lnTo>
                <a:lnTo>
                  <a:pt x="236163" y="24894"/>
                </a:lnTo>
                <a:lnTo>
                  <a:pt x="195970" y="43333"/>
                </a:lnTo>
                <a:lnTo>
                  <a:pt x="158537" y="66263"/>
                </a:lnTo>
                <a:lnTo>
                  <a:pt x="124210" y="93339"/>
                </a:lnTo>
                <a:lnTo>
                  <a:pt x="93335" y="124214"/>
                </a:lnTo>
                <a:lnTo>
                  <a:pt x="66260" y="158542"/>
                </a:lnTo>
                <a:lnTo>
                  <a:pt x="43330" y="195975"/>
                </a:lnTo>
                <a:lnTo>
                  <a:pt x="24893" y="236167"/>
                </a:lnTo>
                <a:lnTo>
                  <a:pt x="11294" y="278771"/>
                </a:lnTo>
                <a:lnTo>
                  <a:pt x="2881" y="323442"/>
                </a:lnTo>
                <a:lnTo>
                  <a:pt x="0" y="369831"/>
                </a:lnTo>
                <a:lnTo>
                  <a:pt x="2881" y="416223"/>
                </a:lnTo>
                <a:lnTo>
                  <a:pt x="11294" y="460894"/>
                </a:lnTo>
                <a:lnTo>
                  <a:pt x="24893" y="503500"/>
                </a:lnTo>
                <a:lnTo>
                  <a:pt x="43330" y="543692"/>
                </a:lnTo>
                <a:lnTo>
                  <a:pt x="66260" y="581125"/>
                </a:lnTo>
                <a:lnTo>
                  <a:pt x="93335" y="615452"/>
                </a:lnTo>
                <a:lnTo>
                  <a:pt x="124210" y="646327"/>
                </a:lnTo>
                <a:lnTo>
                  <a:pt x="158537" y="673402"/>
                </a:lnTo>
                <a:lnTo>
                  <a:pt x="195970" y="696332"/>
                </a:lnTo>
                <a:lnTo>
                  <a:pt x="236163" y="714769"/>
                </a:lnTo>
                <a:lnTo>
                  <a:pt x="278768" y="728368"/>
                </a:lnTo>
                <a:lnTo>
                  <a:pt x="323440" y="736781"/>
                </a:lnTo>
                <a:lnTo>
                  <a:pt x="369831" y="739663"/>
                </a:lnTo>
                <a:lnTo>
                  <a:pt x="416223" y="736781"/>
                </a:lnTo>
                <a:lnTo>
                  <a:pt x="460894" y="728368"/>
                </a:lnTo>
                <a:lnTo>
                  <a:pt x="503500" y="714769"/>
                </a:lnTo>
                <a:lnTo>
                  <a:pt x="543692" y="696332"/>
                </a:lnTo>
                <a:lnTo>
                  <a:pt x="581125" y="673402"/>
                </a:lnTo>
                <a:lnTo>
                  <a:pt x="615452" y="646327"/>
                </a:lnTo>
                <a:lnTo>
                  <a:pt x="646327" y="615452"/>
                </a:lnTo>
                <a:lnTo>
                  <a:pt x="673402" y="581125"/>
                </a:lnTo>
                <a:lnTo>
                  <a:pt x="696332" y="543692"/>
                </a:lnTo>
                <a:lnTo>
                  <a:pt x="714769" y="503500"/>
                </a:lnTo>
                <a:lnTo>
                  <a:pt x="728368" y="460894"/>
                </a:lnTo>
                <a:lnTo>
                  <a:pt x="736781" y="416223"/>
                </a:lnTo>
                <a:lnTo>
                  <a:pt x="739663" y="369831"/>
                </a:lnTo>
                <a:lnTo>
                  <a:pt x="736781" y="323442"/>
                </a:lnTo>
                <a:lnTo>
                  <a:pt x="728368" y="278771"/>
                </a:lnTo>
                <a:lnTo>
                  <a:pt x="714769" y="236167"/>
                </a:lnTo>
                <a:lnTo>
                  <a:pt x="696332" y="195975"/>
                </a:lnTo>
                <a:lnTo>
                  <a:pt x="673402" y="158542"/>
                </a:lnTo>
                <a:lnTo>
                  <a:pt x="646327" y="124214"/>
                </a:lnTo>
                <a:lnTo>
                  <a:pt x="615452" y="93339"/>
                </a:lnTo>
                <a:lnTo>
                  <a:pt x="581125" y="66263"/>
                </a:lnTo>
                <a:lnTo>
                  <a:pt x="543692" y="43333"/>
                </a:lnTo>
                <a:lnTo>
                  <a:pt x="503500" y="24894"/>
                </a:lnTo>
                <a:lnTo>
                  <a:pt x="460894" y="11295"/>
                </a:lnTo>
                <a:lnTo>
                  <a:pt x="416223" y="2881"/>
                </a:lnTo>
                <a:lnTo>
                  <a:pt x="369831" y="0"/>
                </a:lnTo>
                <a:close/>
              </a:path>
            </a:pathLst>
          </a:custGeom>
          <a:solidFill>
            <a:srgbClr val="E5E5E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en-AU"/>
          </a:p>
        </p:txBody>
      </p:sp>
      <p:sp>
        <p:nvSpPr>
          <p:cNvPr id="38" name="object 33">
            <a:extLst>
              <a:ext uri="{FF2B5EF4-FFF2-40B4-BE49-F238E27FC236}">
                <a16:creationId xmlns:a16="http://schemas.microsoft.com/office/drawing/2014/main" id="{A756C151-009C-F5E1-1066-192F8C80A195}"/>
              </a:ext>
            </a:extLst>
          </p:cNvPr>
          <p:cNvSpPr txBox="1"/>
          <p:nvPr userDrawn="1"/>
        </p:nvSpPr>
        <p:spPr>
          <a:xfrm>
            <a:off x="8426450" y="6540500"/>
            <a:ext cx="552450" cy="176213"/>
          </a:xfrm>
          <a:prstGeom prst="rect">
            <a:avLst/>
          </a:prstGeom>
        </p:spPr>
        <p:txBody>
          <a:bodyPr lIns="0" tIns="15875" rIns="0" bIns="0">
            <a:spAutoFit/>
          </a:bodyPr>
          <a:lstStyle/>
          <a:p>
            <a:pPr marL="12700" algn="ctr" eaLnBrk="1" fontAlgn="auto" hangingPunct="1">
              <a:spcBef>
                <a:spcPts val="125"/>
              </a:spcBef>
              <a:spcAft>
                <a:spcPts val="0"/>
              </a:spcAft>
              <a:defRPr/>
            </a:pPr>
            <a:r>
              <a:rPr lang="it-IT" sz="1050" b="1" spc="290" dirty="0">
                <a:latin typeface="Helvetica Neue"/>
                <a:cs typeface="Helvetica Neue"/>
              </a:rPr>
              <a:t>FIAT</a:t>
            </a:r>
            <a:endParaRPr lang="it-IT" sz="1050" dirty="0">
              <a:latin typeface="Helvetica Neue"/>
              <a:cs typeface="Helvetica Neue"/>
            </a:endParaRPr>
          </a:p>
        </p:txBody>
      </p:sp>
      <p:sp>
        <p:nvSpPr>
          <p:cNvPr id="39" name="object 42">
            <a:extLst>
              <a:ext uri="{FF2B5EF4-FFF2-40B4-BE49-F238E27FC236}">
                <a16:creationId xmlns:a16="http://schemas.microsoft.com/office/drawing/2014/main" id="{0B9A0D79-4D3D-A34F-C944-A7B9477CAC74}"/>
              </a:ext>
            </a:extLst>
          </p:cNvPr>
          <p:cNvSpPr>
            <a:spLocks/>
          </p:cNvSpPr>
          <p:nvPr userDrawn="1"/>
        </p:nvSpPr>
        <p:spPr bwMode="auto">
          <a:xfrm>
            <a:off x="12299950" y="6251575"/>
            <a:ext cx="739775" cy="739775"/>
          </a:xfrm>
          <a:custGeom>
            <a:avLst/>
            <a:gdLst>
              <a:gd name="T0" fmla="*/ 369831 w 739775"/>
              <a:gd name="T1" fmla="*/ 0 h 739775"/>
              <a:gd name="T2" fmla="*/ 323440 w 739775"/>
              <a:gd name="T3" fmla="*/ 2881 h 739775"/>
              <a:gd name="T4" fmla="*/ 278768 w 739775"/>
              <a:gd name="T5" fmla="*/ 11295 h 739775"/>
              <a:gd name="T6" fmla="*/ 236163 w 739775"/>
              <a:gd name="T7" fmla="*/ 24894 h 739775"/>
              <a:gd name="T8" fmla="*/ 195970 w 739775"/>
              <a:gd name="T9" fmla="*/ 43333 h 739775"/>
              <a:gd name="T10" fmla="*/ 158537 w 739775"/>
              <a:gd name="T11" fmla="*/ 66263 h 739775"/>
              <a:gd name="T12" fmla="*/ 124210 w 739775"/>
              <a:gd name="T13" fmla="*/ 93339 h 739775"/>
              <a:gd name="T14" fmla="*/ 93335 w 739775"/>
              <a:gd name="T15" fmla="*/ 124214 h 739775"/>
              <a:gd name="T16" fmla="*/ 66260 w 739775"/>
              <a:gd name="T17" fmla="*/ 158542 h 739775"/>
              <a:gd name="T18" fmla="*/ 43330 w 739775"/>
              <a:gd name="T19" fmla="*/ 195975 h 739775"/>
              <a:gd name="T20" fmla="*/ 24893 w 739775"/>
              <a:gd name="T21" fmla="*/ 236167 h 739775"/>
              <a:gd name="T22" fmla="*/ 11294 w 739775"/>
              <a:gd name="T23" fmla="*/ 278771 h 739775"/>
              <a:gd name="T24" fmla="*/ 2881 w 739775"/>
              <a:gd name="T25" fmla="*/ 323442 h 739775"/>
              <a:gd name="T26" fmla="*/ 0 w 739775"/>
              <a:gd name="T27" fmla="*/ 369831 h 739775"/>
              <a:gd name="T28" fmla="*/ 2881 w 739775"/>
              <a:gd name="T29" fmla="*/ 416223 h 739775"/>
              <a:gd name="T30" fmla="*/ 11294 w 739775"/>
              <a:gd name="T31" fmla="*/ 460894 h 739775"/>
              <a:gd name="T32" fmla="*/ 24893 w 739775"/>
              <a:gd name="T33" fmla="*/ 503500 h 739775"/>
              <a:gd name="T34" fmla="*/ 43330 w 739775"/>
              <a:gd name="T35" fmla="*/ 543692 h 739775"/>
              <a:gd name="T36" fmla="*/ 66260 w 739775"/>
              <a:gd name="T37" fmla="*/ 581125 h 739775"/>
              <a:gd name="T38" fmla="*/ 93335 w 739775"/>
              <a:gd name="T39" fmla="*/ 615452 h 739775"/>
              <a:gd name="T40" fmla="*/ 124210 w 739775"/>
              <a:gd name="T41" fmla="*/ 646327 h 739775"/>
              <a:gd name="T42" fmla="*/ 158537 w 739775"/>
              <a:gd name="T43" fmla="*/ 673402 h 739775"/>
              <a:gd name="T44" fmla="*/ 195970 w 739775"/>
              <a:gd name="T45" fmla="*/ 696332 h 739775"/>
              <a:gd name="T46" fmla="*/ 236163 w 739775"/>
              <a:gd name="T47" fmla="*/ 714769 h 739775"/>
              <a:gd name="T48" fmla="*/ 278768 w 739775"/>
              <a:gd name="T49" fmla="*/ 728368 h 739775"/>
              <a:gd name="T50" fmla="*/ 323440 w 739775"/>
              <a:gd name="T51" fmla="*/ 736781 h 739775"/>
              <a:gd name="T52" fmla="*/ 369831 w 739775"/>
              <a:gd name="T53" fmla="*/ 739663 h 739775"/>
              <a:gd name="T54" fmla="*/ 416223 w 739775"/>
              <a:gd name="T55" fmla="*/ 736781 h 739775"/>
              <a:gd name="T56" fmla="*/ 460894 w 739775"/>
              <a:gd name="T57" fmla="*/ 728368 h 739775"/>
              <a:gd name="T58" fmla="*/ 503500 w 739775"/>
              <a:gd name="T59" fmla="*/ 714769 h 739775"/>
              <a:gd name="T60" fmla="*/ 543692 w 739775"/>
              <a:gd name="T61" fmla="*/ 696332 h 739775"/>
              <a:gd name="T62" fmla="*/ 581125 w 739775"/>
              <a:gd name="T63" fmla="*/ 673402 h 739775"/>
              <a:gd name="T64" fmla="*/ 615452 w 739775"/>
              <a:gd name="T65" fmla="*/ 646327 h 739775"/>
              <a:gd name="T66" fmla="*/ 646327 w 739775"/>
              <a:gd name="T67" fmla="*/ 615452 h 739775"/>
              <a:gd name="T68" fmla="*/ 673402 w 739775"/>
              <a:gd name="T69" fmla="*/ 581125 h 739775"/>
              <a:gd name="T70" fmla="*/ 696332 w 739775"/>
              <a:gd name="T71" fmla="*/ 543692 h 739775"/>
              <a:gd name="T72" fmla="*/ 714769 w 739775"/>
              <a:gd name="T73" fmla="*/ 503500 h 739775"/>
              <a:gd name="T74" fmla="*/ 728368 w 739775"/>
              <a:gd name="T75" fmla="*/ 460894 h 739775"/>
              <a:gd name="T76" fmla="*/ 736781 w 739775"/>
              <a:gd name="T77" fmla="*/ 416223 h 739775"/>
              <a:gd name="T78" fmla="*/ 739663 w 739775"/>
              <a:gd name="T79" fmla="*/ 369831 h 739775"/>
              <a:gd name="T80" fmla="*/ 736781 w 739775"/>
              <a:gd name="T81" fmla="*/ 323442 h 739775"/>
              <a:gd name="T82" fmla="*/ 728368 w 739775"/>
              <a:gd name="T83" fmla="*/ 278771 h 739775"/>
              <a:gd name="T84" fmla="*/ 714769 w 739775"/>
              <a:gd name="T85" fmla="*/ 236167 h 739775"/>
              <a:gd name="T86" fmla="*/ 696332 w 739775"/>
              <a:gd name="T87" fmla="*/ 195975 h 739775"/>
              <a:gd name="T88" fmla="*/ 673402 w 739775"/>
              <a:gd name="T89" fmla="*/ 158542 h 739775"/>
              <a:gd name="T90" fmla="*/ 646327 w 739775"/>
              <a:gd name="T91" fmla="*/ 124214 h 739775"/>
              <a:gd name="T92" fmla="*/ 615452 w 739775"/>
              <a:gd name="T93" fmla="*/ 93339 h 739775"/>
              <a:gd name="T94" fmla="*/ 581125 w 739775"/>
              <a:gd name="T95" fmla="*/ 66263 h 739775"/>
              <a:gd name="T96" fmla="*/ 543692 w 739775"/>
              <a:gd name="T97" fmla="*/ 43333 h 739775"/>
              <a:gd name="T98" fmla="*/ 503500 w 739775"/>
              <a:gd name="T99" fmla="*/ 24894 h 739775"/>
              <a:gd name="T100" fmla="*/ 460894 w 739775"/>
              <a:gd name="T101" fmla="*/ 11295 h 739775"/>
              <a:gd name="T102" fmla="*/ 416223 w 739775"/>
              <a:gd name="T103" fmla="*/ 2881 h 739775"/>
              <a:gd name="T104" fmla="*/ 369831 w 739775"/>
              <a:gd name="T105" fmla="*/ 0 h 7397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739775" h="739775">
                <a:moveTo>
                  <a:pt x="369831" y="0"/>
                </a:moveTo>
                <a:lnTo>
                  <a:pt x="323440" y="2881"/>
                </a:lnTo>
                <a:lnTo>
                  <a:pt x="278768" y="11295"/>
                </a:lnTo>
                <a:lnTo>
                  <a:pt x="236163" y="24894"/>
                </a:lnTo>
                <a:lnTo>
                  <a:pt x="195970" y="43333"/>
                </a:lnTo>
                <a:lnTo>
                  <a:pt x="158537" y="66263"/>
                </a:lnTo>
                <a:lnTo>
                  <a:pt x="124210" y="93339"/>
                </a:lnTo>
                <a:lnTo>
                  <a:pt x="93335" y="124214"/>
                </a:lnTo>
                <a:lnTo>
                  <a:pt x="66260" y="158542"/>
                </a:lnTo>
                <a:lnTo>
                  <a:pt x="43330" y="195975"/>
                </a:lnTo>
                <a:lnTo>
                  <a:pt x="24893" y="236167"/>
                </a:lnTo>
                <a:lnTo>
                  <a:pt x="11294" y="278771"/>
                </a:lnTo>
                <a:lnTo>
                  <a:pt x="2881" y="323442"/>
                </a:lnTo>
                <a:lnTo>
                  <a:pt x="0" y="369831"/>
                </a:lnTo>
                <a:lnTo>
                  <a:pt x="2881" y="416223"/>
                </a:lnTo>
                <a:lnTo>
                  <a:pt x="11294" y="460894"/>
                </a:lnTo>
                <a:lnTo>
                  <a:pt x="24893" y="503500"/>
                </a:lnTo>
                <a:lnTo>
                  <a:pt x="43330" y="543692"/>
                </a:lnTo>
                <a:lnTo>
                  <a:pt x="66260" y="581125"/>
                </a:lnTo>
                <a:lnTo>
                  <a:pt x="93335" y="615452"/>
                </a:lnTo>
                <a:lnTo>
                  <a:pt x="124210" y="646327"/>
                </a:lnTo>
                <a:lnTo>
                  <a:pt x="158537" y="673402"/>
                </a:lnTo>
                <a:lnTo>
                  <a:pt x="195970" y="696332"/>
                </a:lnTo>
                <a:lnTo>
                  <a:pt x="236163" y="714769"/>
                </a:lnTo>
                <a:lnTo>
                  <a:pt x="278768" y="728368"/>
                </a:lnTo>
                <a:lnTo>
                  <a:pt x="323440" y="736781"/>
                </a:lnTo>
                <a:lnTo>
                  <a:pt x="369831" y="739663"/>
                </a:lnTo>
                <a:lnTo>
                  <a:pt x="416223" y="736781"/>
                </a:lnTo>
                <a:lnTo>
                  <a:pt x="460894" y="728368"/>
                </a:lnTo>
                <a:lnTo>
                  <a:pt x="503500" y="714769"/>
                </a:lnTo>
                <a:lnTo>
                  <a:pt x="543692" y="696332"/>
                </a:lnTo>
                <a:lnTo>
                  <a:pt x="581125" y="673402"/>
                </a:lnTo>
                <a:lnTo>
                  <a:pt x="615452" y="646327"/>
                </a:lnTo>
                <a:lnTo>
                  <a:pt x="646327" y="615452"/>
                </a:lnTo>
                <a:lnTo>
                  <a:pt x="673402" y="581125"/>
                </a:lnTo>
                <a:lnTo>
                  <a:pt x="696332" y="543692"/>
                </a:lnTo>
                <a:lnTo>
                  <a:pt x="714769" y="503500"/>
                </a:lnTo>
                <a:lnTo>
                  <a:pt x="728368" y="460894"/>
                </a:lnTo>
                <a:lnTo>
                  <a:pt x="736781" y="416223"/>
                </a:lnTo>
                <a:lnTo>
                  <a:pt x="739663" y="369831"/>
                </a:lnTo>
                <a:lnTo>
                  <a:pt x="736781" y="323442"/>
                </a:lnTo>
                <a:lnTo>
                  <a:pt x="728368" y="278771"/>
                </a:lnTo>
                <a:lnTo>
                  <a:pt x="714769" y="236167"/>
                </a:lnTo>
                <a:lnTo>
                  <a:pt x="696332" y="195975"/>
                </a:lnTo>
                <a:lnTo>
                  <a:pt x="673402" y="158542"/>
                </a:lnTo>
                <a:lnTo>
                  <a:pt x="646327" y="124214"/>
                </a:lnTo>
                <a:lnTo>
                  <a:pt x="615452" y="93339"/>
                </a:lnTo>
                <a:lnTo>
                  <a:pt x="581125" y="66263"/>
                </a:lnTo>
                <a:lnTo>
                  <a:pt x="543692" y="43333"/>
                </a:lnTo>
                <a:lnTo>
                  <a:pt x="503500" y="24894"/>
                </a:lnTo>
                <a:lnTo>
                  <a:pt x="460894" y="11295"/>
                </a:lnTo>
                <a:lnTo>
                  <a:pt x="416223" y="2881"/>
                </a:lnTo>
                <a:lnTo>
                  <a:pt x="369831" y="0"/>
                </a:lnTo>
                <a:close/>
              </a:path>
            </a:pathLst>
          </a:custGeom>
          <a:solidFill>
            <a:srgbClr val="E5E5E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en-AU"/>
          </a:p>
        </p:txBody>
      </p:sp>
      <p:sp>
        <p:nvSpPr>
          <p:cNvPr id="40" name="object 43">
            <a:extLst>
              <a:ext uri="{FF2B5EF4-FFF2-40B4-BE49-F238E27FC236}">
                <a16:creationId xmlns:a16="http://schemas.microsoft.com/office/drawing/2014/main" id="{1664050C-2922-377B-034E-BAA000101A8F}"/>
              </a:ext>
            </a:extLst>
          </p:cNvPr>
          <p:cNvSpPr txBox="1"/>
          <p:nvPr userDrawn="1"/>
        </p:nvSpPr>
        <p:spPr>
          <a:xfrm>
            <a:off x="12272963" y="6540500"/>
            <a:ext cx="795337" cy="176213"/>
          </a:xfrm>
          <a:prstGeom prst="rect">
            <a:avLst/>
          </a:prstGeom>
        </p:spPr>
        <p:txBody>
          <a:bodyPr lIns="0" tIns="15875" rIns="0" bIns="0">
            <a:spAutoFit/>
          </a:bodyPr>
          <a:lstStyle/>
          <a:p>
            <a:pPr marL="12700" algn="ctr" eaLnBrk="1" fontAlgn="auto" hangingPunct="1">
              <a:spcBef>
                <a:spcPts val="125"/>
              </a:spcBef>
              <a:spcAft>
                <a:spcPts val="0"/>
              </a:spcAft>
              <a:defRPr/>
            </a:pPr>
            <a:r>
              <a:rPr lang="it-IT" sz="1050" b="1" spc="195" dirty="0">
                <a:latin typeface="Helvetica Neue"/>
                <a:cs typeface="Helvetica Neue"/>
              </a:rPr>
              <a:t>CITRO</a:t>
            </a:r>
            <a:endParaRPr lang="it-IT" sz="1050" dirty="0">
              <a:latin typeface="Helvetica Neue"/>
              <a:cs typeface="Helvetica Neue"/>
            </a:endParaRPr>
          </a:p>
        </p:txBody>
      </p:sp>
      <p:sp>
        <p:nvSpPr>
          <p:cNvPr id="41" name="object 32">
            <a:extLst>
              <a:ext uri="{FF2B5EF4-FFF2-40B4-BE49-F238E27FC236}">
                <a16:creationId xmlns:a16="http://schemas.microsoft.com/office/drawing/2014/main" id="{419DBDD5-1455-B580-0FE4-4F67EDAE2F2E}"/>
              </a:ext>
            </a:extLst>
          </p:cNvPr>
          <p:cNvSpPr>
            <a:spLocks/>
          </p:cNvSpPr>
          <p:nvPr userDrawn="1"/>
        </p:nvSpPr>
        <p:spPr bwMode="auto">
          <a:xfrm>
            <a:off x="11479213" y="6251575"/>
            <a:ext cx="739775" cy="739775"/>
          </a:xfrm>
          <a:custGeom>
            <a:avLst/>
            <a:gdLst>
              <a:gd name="T0" fmla="*/ 369831 w 739775"/>
              <a:gd name="T1" fmla="*/ 0 h 739775"/>
              <a:gd name="T2" fmla="*/ 323440 w 739775"/>
              <a:gd name="T3" fmla="*/ 2881 h 739775"/>
              <a:gd name="T4" fmla="*/ 278768 w 739775"/>
              <a:gd name="T5" fmla="*/ 11295 h 739775"/>
              <a:gd name="T6" fmla="*/ 236163 w 739775"/>
              <a:gd name="T7" fmla="*/ 24894 h 739775"/>
              <a:gd name="T8" fmla="*/ 195970 w 739775"/>
              <a:gd name="T9" fmla="*/ 43333 h 739775"/>
              <a:gd name="T10" fmla="*/ 158537 w 739775"/>
              <a:gd name="T11" fmla="*/ 66263 h 739775"/>
              <a:gd name="T12" fmla="*/ 124210 w 739775"/>
              <a:gd name="T13" fmla="*/ 93339 h 739775"/>
              <a:gd name="T14" fmla="*/ 93335 w 739775"/>
              <a:gd name="T15" fmla="*/ 124214 h 739775"/>
              <a:gd name="T16" fmla="*/ 66260 w 739775"/>
              <a:gd name="T17" fmla="*/ 158542 h 739775"/>
              <a:gd name="T18" fmla="*/ 43330 w 739775"/>
              <a:gd name="T19" fmla="*/ 195975 h 739775"/>
              <a:gd name="T20" fmla="*/ 24893 w 739775"/>
              <a:gd name="T21" fmla="*/ 236167 h 739775"/>
              <a:gd name="T22" fmla="*/ 11294 w 739775"/>
              <a:gd name="T23" fmla="*/ 278771 h 739775"/>
              <a:gd name="T24" fmla="*/ 2881 w 739775"/>
              <a:gd name="T25" fmla="*/ 323442 h 739775"/>
              <a:gd name="T26" fmla="*/ 0 w 739775"/>
              <a:gd name="T27" fmla="*/ 369831 h 739775"/>
              <a:gd name="T28" fmla="*/ 2881 w 739775"/>
              <a:gd name="T29" fmla="*/ 416223 h 739775"/>
              <a:gd name="T30" fmla="*/ 11294 w 739775"/>
              <a:gd name="T31" fmla="*/ 460894 h 739775"/>
              <a:gd name="T32" fmla="*/ 24893 w 739775"/>
              <a:gd name="T33" fmla="*/ 503500 h 739775"/>
              <a:gd name="T34" fmla="*/ 43330 w 739775"/>
              <a:gd name="T35" fmla="*/ 543692 h 739775"/>
              <a:gd name="T36" fmla="*/ 66260 w 739775"/>
              <a:gd name="T37" fmla="*/ 581125 h 739775"/>
              <a:gd name="T38" fmla="*/ 93335 w 739775"/>
              <a:gd name="T39" fmla="*/ 615452 h 739775"/>
              <a:gd name="T40" fmla="*/ 124210 w 739775"/>
              <a:gd name="T41" fmla="*/ 646327 h 739775"/>
              <a:gd name="T42" fmla="*/ 158537 w 739775"/>
              <a:gd name="T43" fmla="*/ 673402 h 739775"/>
              <a:gd name="T44" fmla="*/ 195970 w 739775"/>
              <a:gd name="T45" fmla="*/ 696332 h 739775"/>
              <a:gd name="T46" fmla="*/ 236163 w 739775"/>
              <a:gd name="T47" fmla="*/ 714769 h 739775"/>
              <a:gd name="T48" fmla="*/ 278768 w 739775"/>
              <a:gd name="T49" fmla="*/ 728368 h 739775"/>
              <a:gd name="T50" fmla="*/ 323440 w 739775"/>
              <a:gd name="T51" fmla="*/ 736781 h 739775"/>
              <a:gd name="T52" fmla="*/ 369831 w 739775"/>
              <a:gd name="T53" fmla="*/ 739663 h 739775"/>
              <a:gd name="T54" fmla="*/ 416223 w 739775"/>
              <a:gd name="T55" fmla="*/ 736781 h 739775"/>
              <a:gd name="T56" fmla="*/ 460894 w 739775"/>
              <a:gd name="T57" fmla="*/ 728368 h 739775"/>
              <a:gd name="T58" fmla="*/ 503500 w 739775"/>
              <a:gd name="T59" fmla="*/ 714769 h 739775"/>
              <a:gd name="T60" fmla="*/ 543692 w 739775"/>
              <a:gd name="T61" fmla="*/ 696332 h 739775"/>
              <a:gd name="T62" fmla="*/ 581125 w 739775"/>
              <a:gd name="T63" fmla="*/ 673402 h 739775"/>
              <a:gd name="T64" fmla="*/ 615452 w 739775"/>
              <a:gd name="T65" fmla="*/ 646327 h 739775"/>
              <a:gd name="T66" fmla="*/ 646327 w 739775"/>
              <a:gd name="T67" fmla="*/ 615452 h 739775"/>
              <a:gd name="T68" fmla="*/ 673402 w 739775"/>
              <a:gd name="T69" fmla="*/ 581125 h 739775"/>
              <a:gd name="T70" fmla="*/ 696332 w 739775"/>
              <a:gd name="T71" fmla="*/ 543692 h 739775"/>
              <a:gd name="T72" fmla="*/ 714769 w 739775"/>
              <a:gd name="T73" fmla="*/ 503500 h 739775"/>
              <a:gd name="T74" fmla="*/ 728368 w 739775"/>
              <a:gd name="T75" fmla="*/ 460894 h 739775"/>
              <a:gd name="T76" fmla="*/ 736781 w 739775"/>
              <a:gd name="T77" fmla="*/ 416223 h 739775"/>
              <a:gd name="T78" fmla="*/ 739663 w 739775"/>
              <a:gd name="T79" fmla="*/ 369831 h 739775"/>
              <a:gd name="T80" fmla="*/ 736781 w 739775"/>
              <a:gd name="T81" fmla="*/ 323442 h 739775"/>
              <a:gd name="T82" fmla="*/ 728368 w 739775"/>
              <a:gd name="T83" fmla="*/ 278771 h 739775"/>
              <a:gd name="T84" fmla="*/ 714769 w 739775"/>
              <a:gd name="T85" fmla="*/ 236167 h 739775"/>
              <a:gd name="T86" fmla="*/ 696332 w 739775"/>
              <a:gd name="T87" fmla="*/ 195975 h 739775"/>
              <a:gd name="T88" fmla="*/ 673402 w 739775"/>
              <a:gd name="T89" fmla="*/ 158542 h 739775"/>
              <a:gd name="T90" fmla="*/ 646327 w 739775"/>
              <a:gd name="T91" fmla="*/ 124214 h 739775"/>
              <a:gd name="T92" fmla="*/ 615452 w 739775"/>
              <a:gd name="T93" fmla="*/ 93339 h 739775"/>
              <a:gd name="T94" fmla="*/ 581125 w 739775"/>
              <a:gd name="T95" fmla="*/ 66263 h 739775"/>
              <a:gd name="T96" fmla="*/ 543692 w 739775"/>
              <a:gd name="T97" fmla="*/ 43333 h 739775"/>
              <a:gd name="T98" fmla="*/ 503500 w 739775"/>
              <a:gd name="T99" fmla="*/ 24894 h 739775"/>
              <a:gd name="T100" fmla="*/ 460894 w 739775"/>
              <a:gd name="T101" fmla="*/ 11295 h 739775"/>
              <a:gd name="T102" fmla="*/ 416223 w 739775"/>
              <a:gd name="T103" fmla="*/ 2881 h 739775"/>
              <a:gd name="T104" fmla="*/ 369831 w 739775"/>
              <a:gd name="T105" fmla="*/ 0 h 7397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739775" h="739775">
                <a:moveTo>
                  <a:pt x="369831" y="0"/>
                </a:moveTo>
                <a:lnTo>
                  <a:pt x="323440" y="2881"/>
                </a:lnTo>
                <a:lnTo>
                  <a:pt x="278768" y="11295"/>
                </a:lnTo>
                <a:lnTo>
                  <a:pt x="236163" y="24894"/>
                </a:lnTo>
                <a:lnTo>
                  <a:pt x="195970" y="43333"/>
                </a:lnTo>
                <a:lnTo>
                  <a:pt x="158537" y="66263"/>
                </a:lnTo>
                <a:lnTo>
                  <a:pt x="124210" y="93339"/>
                </a:lnTo>
                <a:lnTo>
                  <a:pt x="93335" y="124214"/>
                </a:lnTo>
                <a:lnTo>
                  <a:pt x="66260" y="158542"/>
                </a:lnTo>
                <a:lnTo>
                  <a:pt x="43330" y="195975"/>
                </a:lnTo>
                <a:lnTo>
                  <a:pt x="24893" y="236167"/>
                </a:lnTo>
                <a:lnTo>
                  <a:pt x="11294" y="278771"/>
                </a:lnTo>
                <a:lnTo>
                  <a:pt x="2881" y="323442"/>
                </a:lnTo>
                <a:lnTo>
                  <a:pt x="0" y="369831"/>
                </a:lnTo>
                <a:lnTo>
                  <a:pt x="2881" y="416223"/>
                </a:lnTo>
                <a:lnTo>
                  <a:pt x="11294" y="460894"/>
                </a:lnTo>
                <a:lnTo>
                  <a:pt x="24893" y="503500"/>
                </a:lnTo>
                <a:lnTo>
                  <a:pt x="43330" y="543692"/>
                </a:lnTo>
                <a:lnTo>
                  <a:pt x="66260" y="581125"/>
                </a:lnTo>
                <a:lnTo>
                  <a:pt x="93335" y="615452"/>
                </a:lnTo>
                <a:lnTo>
                  <a:pt x="124210" y="646327"/>
                </a:lnTo>
                <a:lnTo>
                  <a:pt x="158537" y="673402"/>
                </a:lnTo>
                <a:lnTo>
                  <a:pt x="195970" y="696332"/>
                </a:lnTo>
                <a:lnTo>
                  <a:pt x="236163" y="714769"/>
                </a:lnTo>
                <a:lnTo>
                  <a:pt x="278768" y="728368"/>
                </a:lnTo>
                <a:lnTo>
                  <a:pt x="323440" y="736781"/>
                </a:lnTo>
                <a:lnTo>
                  <a:pt x="369831" y="739663"/>
                </a:lnTo>
                <a:lnTo>
                  <a:pt x="416223" y="736781"/>
                </a:lnTo>
                <a:lnTo>
                  <a:pt x="460894" y="728368"/>
                </a:lnTo>
                <a:lnTo>
                  <a:pt x="503500" y="714769"/>
                </a:lnTo>
                <a:lnTo>
                  <a:pt x="543692" y="696332"/>
                </a:lnTo>
                <a:lnTo>
                  <a:pt x="581125" y="673402"/>
                </a:lnTo>
                <a:lnTo>
                  <a:pt x="615452" y="646327"/>
                </a:lnTo>
                <a:lnTo>
                  <a:pt x="646327" y="615452"/>
                </a:lnTo>
                <a:lnTo>
                  <a:pt x="673402" y="581125"/>
                </a:lnTo>
                <a:lnTo>
                  <a:pt x="696332" y="543692"/>
                </a:lnTo>
                <a:lnTo>
                  <a:pt x="714769" y="503500"/>
                </a:lnTo>
                <a:lnTo>
                  <a:pt x="728368" y="460894"/>
                </a:lnTo>
                <a:lnTo>
                  <a:pt x="736781" y="416223"/>
                </a:lnTo>
                <a:lnTo>
                  <a:pt x="739663" y="369831"/>
                </a:lnTo>
                <a:lnTo>
                  <a:pt x="736781" y="323442"/>
                </a:lnTo>
                <a:lnTo>
                  <a:pt x="728368" y="278771"/>
                </a:lnTo>
                <a:lnTo>
                  <a:pt x="714769" y="236167"/>
                </a:lnTo>
                <a:lnTo>
                  <a:pt x="696332" y="195975"/>
                </a:lnTo>
                <a:lnTo>
                  <a:pt x="673402" y="158542"/>
                </a:lnTo>
                <a:lnTo>
                  <a:pt x="646327" y="124214"/>
                </a:lnTo>
                <a:lnTo>
                  <a:pt x="615452" y="93339"/>
                </a:lnTo>
                <a:lnTo>
                  <a:pt x="581125" y="66263"/>
                </a:lnTo>
                <a:lnTo>
                  <a:pt x="543692" y="43333"/>
                </a:lnTo>
                <a:lnTo>
                  <a:pt x="503500" y="24894"/>
                </a:lnTo>
                <a:lnTo>
                  <a:pt x="460894" y="11295"/>
                </a:lnTo>
                <a:lnTo>
                  <a:pt x="416223" y="2881"/>
                </a:lnTo>
                <a:lnTo>
                  <a:pt x="369831" y="0"/>
                </a:lnTo>
                <a:close/>
              </a:path>
            </a:pathLst>
          </a:custGeom>
          <a:solidFill>
            <a:srgbClr val="E5E5E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en-AU"/>
          </a:p>
        </p:txBody>
      </p:sp>
      <p:sp>
        <p:nvSpPr>
          <p:cNvPr id="42" name="object 33">
            <a:extLst>
              <a:ext uri="{FF2B5EF4-FFF2-40B4-BE49-F238E27FC236}">
                <a16:creationId xmlns:a16="http://schemas.microsoft.com/office/drawing/2014/main" id="{F2728A24-5D3A-2170-0E64-94E7E3767C8A}"/>
              </a:ext>
            </a:extLst>
          </p:cNvPr>
          <p:cNvSpPr txBox="1"/>
          <p:nvPr userDrawn="1"/>
        </p:nvSpPr>
        <p:spPr>
          <a:xfrm>
            <a:off x="11572875" y="6540500"/>
            <a:ext cx="552450" cy="176213"/>
          </a:xfrm>
          <a:prstGeom prst="rect">
            <a:avLst/>
          </a:prstGeom>
        </p:spPr>
        <p:txBody>
          <a:bodyPr lIns="0" tIns="15875" rIns="0" bIns="0">
            <a:spAutoFit/>
          </a:bodyPr>
          <a:lstStyle/>
          <a:p>
            <a:pPr marL="12700" algn="ctr" eaLnBrk="1" fontAlgn="auto" hangingPunct="1">
              <a:spcBef>
                <a:spcPts val="125"/>
              </a:spcBef>
              <a:spcAft>
                <a:spcPts val="0"/>
              </a:spcAft>
              <a:defRPr/>
            </a:pPr>
            <a:r>
              <a:rPr lang="it-IT" sz="1050" b="1" spc="290" dirty="0">
                <a:latin typeface="Helvetica Neue"/>
                <a:cs typeface="Helvetica Neue"/>
              </a:rPr>
              <a:t>FIAT</a:t>
            </a:r>
            <a:endParaRPr lang="it-IT" sz="1050" dirty="0">
              <a:latin typeface="Helvetica Neue"/>
              <a:cs typeface="Helvetica Neue"/>
            </a:endParaRPr>
          </a:p>
        </p:txBody>
      </p:sp>
      <p:sp>
        <p:nvSpPr>
          <p:cNvPr id="43" name="object 42">
            <a:extLst>
              <a:ext uri="{FF2B5EF4-FFF2-40B4-BE49-F238E27FC236}">
                <a16:creationId xmlns:a16="http://schemas.microsoft.com/office/drawing/2014/main" id="{48B869B8-6A54-D402-E0AA-AA61494FA96F}"/>
              </a:ext>
            </a:extLst>
          </p:cNvPr>
          <p:cNvSpPr>
            <a:spLocks/>
          </p:cNvSpPr>
          <p:nvPr userDrawn="1"/>
        </p:nvSpPr>
        <p:spPr bwMode="auto">
          <a:xfrm>
            <a:off x="18580100" y="6251575"/>
            <a:ext cx="739775" cy="739775"/>
          </a:xfrm>
          <a:custGeom>
            <a:avLst/>
            <a:gdLst>
              <a:gd name="T0" fmla="*/ 369831 w 739775"/>
              <a:gd name="T1" fmla="*/ 0 h 739775"/>
              <a:gd name="T2" fmla="*/ 323440 w 739775"/>
              <a:gd name="T3" fmla="*/ 2881 h 739775"/>
              <a:gd name="T4" fmla="*/ 278768 w 739775"/>
              <a:gd name="T5" fmla="*/ 11295 h 739775"/>
              <a:gd name="T6" fmla="*/ 236163 w 739775"/>
              <a:gd name="T7" fmla="*/ 24894 h 739775"/>
              <a:gd name="T8" fmla="*/ 195970 w 739775"/>
              <a:gd name="T9" fmla="*/ 43333 h 739775"/>
              <a:gd name="T10" fmla="*/ 158537 w 739775"/>
              <a:gd name="T11" fmla="*/ 66263 h 739775"/>
              <a:gd name="T12" fmla="*/ 124210 w 739775"/>
              <a:gd name="T13" fmla="*/ 93339 h 739775"/>
              <a:gd name="T14" fmla="*/ 93335 w 739775"/>
              <a:gd name="T15" fmla="*/ 124214 h 739775"/>
              <a:gd name="T16" fmla="*/ 66260 w 739775"/>
              <a:gd name="T17" fmla="*/ 158542 h 739775"/>
              <a:gd name="T18" fmla="*/ 43330 w 739775"/>
              <a:gd name="T19" fmla="*/ 195975 h 739775"/>
              <a:gd name="T20" fmla="*/ 24893 w 739775"/>
              <a:gd name="T21" fmla="*/ 236167 h 739775"/>
              <a:gd name="T22" fmla="*/ 11294 w 739775"/>
              <a:gd name="T23" fmla="*/ 278771 h 739775"/>
              <a:gd name="T24" fmla="*/ 2881 w 739775"/>
              <a:gd name="T25" fmla="*/ 323442 h 739775"/>
              <a:gd name="T26" fmla="*/ 0 w 739775"/>
              <a:gd name="T27" fmla="*/ 369831 h 739775"/>
              <a:gd name="T28" fmla="*/ 2881 w 739775"/>
              <a:gd name="T29" fmla="*/ 416223 h 739775"/>
              <a:gd name="T30" fmla="*/ 11294 w 739775"/>
              <a:gd name="T31" fmla="*/ 460894 h 739775"/>
              <a:gd name="T32" fmla="*/ 24893 w 739775"/>
              <a:gd name="T33" fmla="*/ 503500 h 739775"/>
              <a:gd name="T34" fmla="*/ 43330 w 739775"/>
              <a:gd name="T35" fmla="*/ 543692 h 739775"/>
              <a:gd name="T36" fmla="*/ 66260 w 739775"/>
              <a:gd name="T37" fmla="*/ 581125 h 739775"/>
              <a:gd name="T38" fmla="*/ 93335 w 739775"/>
              <a:gd name="T39" fmla="*/ 615452 h 739775"/>
              <a:gd name="T40" fmla="*/ 124210 w 739775"/>
              <a:gd name="T41" fmla="*/ 646327 h 739775"/>
              <a:gd name="T42" fmla="*/ 158537 w 739775"/>
              <a:gd name="T43" fmla="*/ 673402 h 739775"/>
              <a:gd name="T44" fmla="*/ 195970 w 739775"/>
              <a:gd name="T45" fmla="*/ 696332 h 739775"/>
              <a:gd name="T46" fmla="*/ 236163 w 739775"/>
              <a:gd name="T47" fmla="*/ 714769 h 739775"/>
              <a:gd name="T48" fmla="*/ 278768 w 739775"/>
              <a:gd name="T49" fmla="*/ 728368 h 739775"/>
              <a:gd name="T50" fmla="*/ 323440 w 739775"/>
              <a:gd name="T51" fmla="*/ 736781 h 739775"/>
              <a:gd name="T52" fmla="*/ 369831 w 739775"/>
              <a:gd name="T53" fmla="*/ 739663 h 739775"/>
              <a:gd name="T54" fmla="*/ 416223 w 739775"/>
              <a:gd name="T55" fmla="*/ 736781 h 739775"/>
              <a:gd name="T56" fmla="*/ 460894 w 739775"/>
              <a:gd name="T57" fmla="*/ 728368 h 739775"/>
              <a:gd name="T58" fmla="*/ 503500 w 739775"/>
              <a:gd name="T59" fmla="*/ 714769 h 739775"/>
              <a:gd name="T60" fmla="*/ 543692 w 739775"/>
              <a:gd name="T61" fmla="*/ 696332 h 739775"/>
              <a:gd name="T62" fmla="*/ 581125 w 739775"/>
              <a:gd name="T63" fmla="*/ 673402 h 739775"/>
              <a:gd name="T64" fmla="*/ 615452 w 739775"/>
              <a:gd name="T65" fmla="*/ 646327 h 739775"/>
              <a:gd name="T66" fmla="*/ 646327 w 739775"/>
              <a:gd name="T67" fmla="*/ 615452 h 739775"/>
              <a:gd name="T68" fmla="*/ 673402 w 739775"/>
              <a:gd name="T69" fmla="*/ 581125 h 739775"/>
              <a:gd name="T70" fmla="*/ 696332 w 739775"/>
              <a:gd name="T71" fmla="*/ 543692 h 739775"/>
              <a:gd name="T72" fmla="*/ 714769 w 739775"/>
              <a:gd name="T73" fmla="*/ 503500 h 739775"/>
              <a:gd name="T74" fmla="*/ 728368 w 739775"/>
              <a:gd name="T75" fmla="*/ 460894 h 739775"/>
              <a:gd name="T76" fmla="*/ 736781 w 739775"/>
              <a:gd name="T77" fmla="*/ 416223 h 739775"/>
              <a:gd name="T78" fmla="*/ 739663 w 739775"/>
              <a:gd name="T79" fmla="*/ 369831 h 739775"/>
              <a:gd name="T80" fmla="*/ 736781 w 739775"/>
              <a:gd name="T81" fmla="*/ 323442 h 739775"/>
              <a:gd name="T82" fmla="*/ 728368 w 739775"/>
              <a:gd name="T83" fmla="*/ 278771 h 739775"/>
              <a:gd name="T84" fmla="*/ 714769 w 739775"/>
              <a:gd name="T85" fmla="*/ 236167 h 739775"/>
              <a:gd name="T86" fmla="*/ 696332 w 739775"/>
              <a:gd name="T87" fmla="*/ 195975 h 739775"/>
              <a:gd name="T88" fmla="*/ 673402 w 739775"/>
              <a:gd name="T89" fmla="*/ 158542 h 739775"/>
              <a:gd name="T90" fmla="*/ 646327 w 739775"/>
              <a:gd name="T91" fmla="*/ 124214 h 739775"/>
              <a:gd name="T92" fmla="*/ 615452 w 739775"/>
              <a:gd name="T93" fmla="*/ 93339 h 739775"/>
              <a:gd name="T94" fmla="*/ 581125 w 739775"/>
              <a:gd name="T95" fmla="*/ 66263 h 739775"/>
              <a:gd name="T96" fmla="*/ 543692 w 739775"/>
              <a:gd name="T97" fmla="*/ 43333 h 739775"/>
              <a:gd name="T98" fmla="*/ 503500 w 739775"/>
              <a:gd name="T99" fmla="*/ 24894 h 739775"/>
              <a:gd name="T100" fmla="*/ 460894 w 739775"/>
              <a:gd name="T101" fmla="*/ 11295 h 739775"/>
              <a:gd name="T102" fmla="*/ 416223 w 739775"/>
              <a:gd name="T103" fmla="*/ 2881 h 739775"/>
              <a:gd name="T104" fmla="*/ 369831 w 739775"/>
              <a:gd name="T105" fmla="*/ 0 h 7397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739775" h="739775">
                <a:moveTo>
                  <a:pt x="369831" y="0"/>
                </a:moveTo>
                <a:lnTo>
                  <a:pt x="323440" y="2881"/>
                </a:lnTo>
                <a:lnTo>
                  <a:pt x="278768" y="11295"/>
                </a:lnTo>
                <a:lnTo>
                  <a:pt x="236163" y="24894"/>
                </a:lnTo>
                <a:lnTo>
                  <a:pt x="195970" y="43333"/>
                </a:lnTo>
                <a:lnTo>
                  <a:pt x="158537" y="66263"/>
                </a:lnTo>
                <a:lnTo>
                  <a:pt x="124210" y="93339"/>
                </a:lnTo>
                <a:lnTo>
                  <a:pt x="93335" y="124214"/>
                </a:lnTo>
                <a:lnTo>
                  <a:pt x="66260" y="158542"/>
                </a:lnTo>
                <a:lnTo>
                  <a:pt x="43330" y="195975"/>
                </a:lnTo>
                <a:lnTo>
                  <a:pt x="24893" y="236167"/>
                </a:lnTo>
                <a:lnTo>
                  <a:pt x="11294" y="278771"/>
                </a:lnTo>
                <a:lnTo>
                  <a:pt x="2881" y="323442"/>
                </a:lnTo>
                <a:lnTo>
                  <a:pt x="0" y="369831"/>
                </a:lnTo>
                <a:lnTo>
                  <a:pt x="2881" y="416223"/>
                </a:lnTo>
                <a:lnTo>
                  <a:pt x="11294" y="460894"/>
                </a:lnTo>
                <a:lnTo>
                  <a:pt x="24893" y="503500"/>
                </a:lnTo>
                <a:lnTo>
                  <a:pt x="43330" y="543692"/>
                </a:lnTo>
                <a:lnTo>
                  <a:pt x="66260" y="581125"/>
                </a:lnTo>
                <a:lnTo>
                  <a:pt x="93335" y="615452"/>
                </a:lnTo>
                <a:lnTo>
                  <a:pt x="124210" y="646327"/>
                </a:lnTo>
                <a:lnTo>
                  <a:pt x="158537" y="673402"/>
                </a:lnTo>
                <a:lnTo>
                  <a:pt x="195970" y="696332"/>
                </a:lnTo>
                <a:lnTo>
                  <a:pt x="236163" y="714769"/>
                </a:lnTo>
                <a:lnTo>
                  <a:pt x="278768" y="728368"/>
                </a:lnTo>
                <a:lnTo>
                  <a:pt x="323440" y="736781"/>
                </a:lnTo>
                <a:lnTo>
                  <a:pt x="369831" y="739663"/>
                </a:lnTo>
                <a:lnTo>
                  <a:pt x="416223" y="736781"/>
                </a:lnTo>
                <a:lnTo>
                  <a:pt x="460894" y="728368"/>
                </a:lnTo>
                <a:lnTo>
                  <a:pt x="503500" y="714769"/>
                </a:lnTo>
                <a:lnTo>
                  <a:pt x="543692" y="696332"/>
                </a:lnTo>
                <a:lnTo>
                  <a:pt x="581125" y="673402"/>
                </a:lnTo>
                <a:lnTo>
                  <a:pt x="615452" y="646327"/>
                </a:lnTo>
                <a:lnTo>
                  <a:pt x="646327" y="615452"/>
                </a:lnTo>
                <a:lnTo>
                  <a:pt x="673402" y="581125"/>
                </a:lnTo>
                <a:lnTo>
                  <a:pt x="696332" y="543692"/>
                </a:lnTo>
                <a:lnTo>
                  <a:pt x="714769" y="503500"/>
                </a:lnTo>
                <a:lnTo>
                  <a:pt x="728368" y="460894"/>
                </a:lnTo>
                <a:lnTo>
                  <a:pt x="736781" y="416223"/>
                </a:lnTo>
                <a:lnTo>
                  <a:pt x="739663" y="369831"/>
                </a:lnTo>
                <a:lnTo>
                  <a:pt x="736781" y="323442"/>
                </a:lnTo>
                <a:lnTo>
                  <a:pt x="728368" y="278771"/>
                </a:lnTo>
                <a:lnTo>
                  <a:pt x="714769" y="236167"/>
                </a:lnTo>
                <a:lnTo>
                  <a:pt x="696332" y="195975"/>
                </a:lnTo>
                <a:lnTo>
                  <a:pt x="673402" y="158542"/>
                </a:lnTo>
                <a:lnTo>
                  <a:pt x="646327" y="124214"/>
                </a:lnTo>
                <a:lnTo>
                  <a:pt x="615452" y="93339"/>
                </a:lnTo>
                <a:lnTo>
                  <a:pt x="581125" y="66263"/>
                </a:lnTo>
                <a:lnTo>
                  <a:pt x="543692" y="43333"/>
                </a:lnTo>
                <a:lnTo>
                  <a:pt x="503500" y="24894"/>
                </a:lnTo>
                <a:lnTo>
                  <a:pt x="460894" y="11295"/>
                </a:lnTo>
                <a:lnTo>
                  <a:pt x="416223" y="2881"/>
                </a:lnTo>
                <a:lnTo>
                  <a:pt x="369831" y="0"/>
                </a:lnTo>
                <a:close/>
              </a:path>
            </a:pathLst>
          </a:custGeom>
          <a:solidFill>
            <a:srgbClr val="E5E5E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en-AU"/>
          </a:p>
        </p:txBody>
      </p:sp>
      <p:sp>
        <p:nvSpPr>
          <p:cNvPr id="44" name="object 43">
            <a:extLst>
              <a:ext uri="{FF2B5EF4-FFF2-40B4-BE49-F238E27FC236}">
                <a16:creationId xmlns:a16="http://schemas.microsoft.com/office/drawing/2014/main" id="{623C0AEB-097F-700A-521A-60F4BAD8C58E}"/>
              </a:ext>
            </a:extLst>
          </p:cNvPr>
          <p:cNvSpPr txBox="1"/>
          <p:nvPr userDrawn="1"/>
        </p:nvSpPr>
        <p:spPr>
          <a:xfrm>
            <a:off x="18551525" y="6540500"/>
            <a:ext cx="796925" cy="176213"/>
          </a:xfrm>
          <a:prstGeom prst="rect">
            <a:avLst/>
          </a:prstGeom>
        </p:spPr>
        <p:txBody>
          <a:bodyPr lIns="0" tIns="15875" rIns="0" bIns="0">
            <a:spAutoFit/>
          </a:bodyPr>
          <a:lstStyle/>
          <a:p>
            <a:pPr marL="12700" algn="ctr" eaLnBrk="1" fontAlgn="auto" hangingPunct="1">
              <a:spcBef>
                <a:spcPts val="125"/>
              </a:spcBef>
              <a:spcAft>
                <a:spcPts val="0"/>
              </a:spcAft>
              <a:defRPr/>
            </a:pPr>
            <a:r>
              <a:rPr lang="it-IT" sz="1050" b="1" spc="195" dirty="0">
                <a:latin typeface="Helvetica Neue"/>
                <a:cs typeface="Helvetica Neue"/>
              </a:rPr>
              <a:t>CITRO</a:t>
            </a:r>
            <a:endParaRPr lang="it-IT" sz="1050" dirty="0">
              <a:latin typeface="Helvetica Neue"/>
              <a:cs typeface="Helvetica Neue"/>
            </a:endParaRPr>
          </a:p>
        </p:txBody>
      </p:sp>
      <p:sp>
        <p:nvSpPr>
          <p:cNvPr id="45" name="object 32">
            <a:extLst>
              <a:ext uri="{FF2B5EF4-FFF2-40B4-BE49-F238E27FC236}">
                <a16:creationId xmlns:a16="http://schemas.microsoft.com/office/drawing/2014/main" id="{5DAC1B7F-63F1-3DED-5525-CC901248C0F4}"/>
              </a:ext>
            </a:extLst>
          </p:cNvPr>
          <p:cNvSpPr>
            <a:spLocks/>
          </p:cNvSpPr>
          <p:nvPr userDrawn="1"/>
        </p:nvSpPr>
        <p:spPr bwMode="auto">
          <a:xfrm>
            <a:off x="17759363" y="6251575"/>
            <a:ext cx="739775" cy="739775"/>
          </a:xfrm>
          <a:custGeom>
            <a:avLst/>
            <a:gdLst>
              <a:gd name="T0" fmla="*/ 369831 w 739775"/>
              <a:gd name="T1" fmla="*/ 0 h 739775"/>
              <a:gd name="T2" fmla="*/ 323440 w 739775"/>
              <a:gd name="T3" fmla="*/ 2881 h 739775"/>
              <a:gd name="T4" fmla="*/ 278768 w 739775"/>
              <a:gd name="T5" fmla="*/ 11295 h 739775"/>
              <a:gd name="T6" fmla="*/ 236163 w 739775"/>
              <a:gd name="T7" fmla="*/ 24894 h 739775"/>
              <a:gd name="T8" fmla="*/ 195970 w 739775"/>
              <a:gd name="T9" fmla="*/ 43333 h 739775"/>
              <a:gd name="T10" fmla="*/ 158537 w 739775"/>
              <a:gd name="T11" fmla="*/ 66263 h 739775"/>
              <a:gd name="T12" fmla="*/ 124210 w 739775"/>
              <a:gd name="T13" fmla="*/ 93339 h 739775"/>
              <a:gd name="T14" fmla="*/ 93335 w 739775"/>
              <a:gd name="T15" fmla="*/ 124214 h 739775"/>
              <a:gd name="T16" fmla="*/ 66260 w 739775"/>
              <a:gd name="T17" fmla="*/ 158542 h 739775"/>
              <a:gd name="T18" fmla="*/ 43330 w 739775"/>
              <a:gd name="T19" fmla="*/ 195975 h 739775"/>
              <a:gd name="T20" fmla="*/ 24893 w 739775"/>
              <a:gd name="T21" fmla="*/ 236167 h 739775"/>
              <a:gd name="T22" fmla="*/ 11294 w 739775"/>
              <a:gd name="T23" fmla="*/ 278771 h 739775"/>
              <a:gd name="T24" fmla="*/ 2881 w 739775"/>
              <a:gd name="T25" fmla="*/ 323442 h 739775"/>
              <a:gd name="T26" fmla="*/ 0 w 739775"/>
              <a:gd name="T27" fmla="*/ 369831 h 739775"/>
              <a:gd name="T28" fmla="*/ 2881 w 739775"/>
              <a:gd name="T29" fmla="*/ 416223 h 739775"/>
              <a:gd name="T30" fmla="*/ 11294 w 739775"/>
              <a:gd name="T31" fmla="*/ 460894 h 739775"/>
              <a:gd name="T32" fmla="*/ 24893 w 739775"/>
              <a:gd name="T33" fmla="*/ 503500 h 739775"/>
              <a:gd name="T34" fmla="*/ 43330 w 739775"/>
              <a:gd name="T35" fmla="*/ 543692 h 739775"/>
              <a:gd name="T36" fmla="*/ 66260 w 739775"/>
              <a:gd name="T37" fmla="*/ 581125 h 739775"/>
              <a:gd name="T38" fmla="*/ 93335 w 739775"/>
              <a:gd name="T39" fmla="*/ 615452 h 739775"/>
              <a:gd name="T40" fmla="*/ 124210 w 739775"/>
              <a:gd name="T41" fmla="*/ 646327 h 739775"/>
              <a:gd name="T42" fmla="*/ 158537 w 739775"/>
              <a:gd name="T43" fmla="*/ 673402 h 739775"/>
              <a:gd name="T44" fmla="*/ 195970 w 739775"/>
              <a:gd name="T45" fmla="*/ 696332 h 739775"/>
              <a:gd name="T46" fmla="*/ 236163 w 739775"/>
              <a:gd name="T47" fmla="*/ 714769 h 739775"/>
              <a:gd name="T48" fmla="*/ 278768 w 739775"/>
              <a:gd name="T49" fmla="*/ 728368 h 739775"/>
              <a:gd name="T50" fmla="*/ 323440 w 739775"/>
              <a:gd name="T51" fmla="*/ 736781 h 739775"/>
              <a:gd name="T52" fmla="*/ 369831 w 739775"/>
              <a:gd name="T53" fmla="*/ 739663 h 739775"/>
              <a:gd name="T54" fmla="*/ 416223 w 739775"/>
              <a:gd name="T55" fmla="*/ 736781 h 739775"/>
              <a:gd name="T56" fmla="*/ 460894 w 739775"/>
              <a:gd name="T57" fmla="*/ 728368 h 739775"/>
              <a:gd name="T58" fmla="*/ 503500 w 739775"/>
              <a:gd name="T59" fmla="*/ 714769 h 739775"/>
              <a:gd name="T60" fmla="*/ 543692 w 739775"/>
              <a:gd name="T61" fmla="*/ 696332 h 739775"/>
              <a:gd name="T62" fmla="*/ 581125 w 739775"/>
              <a:gd name="T63" fmla="*/ 673402 h 739775"/>
              <a:gd name="T64" fmla="*/ 615452 w 739775"/>
              <a:gd name="T65" fmla="*/ 646327 h 739775"/>
              <a:gd name="T66" fmla="*/ 646327 w 739775"/>
              <a:gd name="T67" fmla="*/ 615452 h 739775"/>
              <a:gd name="T68" fmla="*/ 673402 w 739775"/>
              <a:gd name="T69" fmla="*/ 581125 h 739775"/>
              <a:gd name="T70" fmla="*/ 696332 w 739775"/>
              <a:gd name="T71" fmla="*/ 543692 h 739775"/>
              <a:gd name="T72" fmla="*/ 714769 w 739775"/>
              <a:gd name="T73" fmla="*/ 503500 h 739775"/>
              <a:gd name="T74" fmla="*/ 728368 w 739775"/>
              <a:gd name="T75" fmla="*/ 460894 h 739775"/>
              <a:gd name="T76" fmla="*/ 736781 w 739775"/>
              <a:gd name="T77" fmla="*/ 416223 h 739775"/>
              <a:gd name="T78" fmla="*/ 739663 w 739775"/>
              <a:gd name="T79" fmla="*/ 369831 h 739775"/>
              <a:gd name="T80" fmla="*/ 736781 w 739775"/>
              <a:gd name="T81" fmla="*/ 323442 h 739775"/>
              <a:gd name="T82" fmla="*/ 728368 w 739775"/>
              <a:gd name="T83" fmla="*/ 278771 h 739775"/>
              <a:gd name="T84" fmla="*/ 714769 w 739775"/>
              <a:gd name="T85" fmla="*/ 236167 h 739775"/>
              <a:gd name="T86" fmla="*/ 696332 w 739775"/>
              <a:gd name="T87" fmla="*/ 195975 h 739775"/>
              <a:gd name="T88" fmla="*/ 673402 w 739775"/>
              <a:gd name="T89" fmla="*/ 158542 h 739775"/>
              <a:gd name="T90" fmla="*/ 646327 w 739775"/>
              <a:gd name="T91" fmla="*/ 124214 h 739775"/>
              <a:gd name="T92" fmla="*/ 615452 w 739775"/>
              <a:gd name="T93" fmla="*/ 93339 h 739775"/>
              <a:gd name="T94" fmla="*/ 581125 w 739775"/>
              <a:gd name="T95" fmla="*/ 66263 h 739775"/>
              <a:gd name="T96" fmla="*/ 543692 w 739775"/>
              <a:gd name="T97" fmla="*/ 43333 h 739775"/>
              <a:gd name="T98" fmla="*/ 503500 w 739775"/>
              <a:gd name="T99" fmla="*/ 24894 h 739775"/>
              <a:gd name="T100" fmla="*/ 460894 w 739775"/>
              <a:gd name="T101" fmla="*/ 11295 h 739775"/>
              <a:gd name="T102" fmla="*/ 416223 w 739775"/>
              <a:gd name="T103" fmla="*/ 2881 h 739775"/>
              <a:gd name="T104" fmla="*/ 369831 w 739775"/>
              <a:gd name="T105" fmla="*/ 0 h 7397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739775" h="739775">
                <a:moveTo>
                  <a:pt x="369831" y="0"/>
                </a:moveTo>
                <a:lnTo>
                  <a:pt x="323440" y="2881"/>
                </a:lnTo>
                <a:lnTo>
                  <a:pt x="278768" y="11295"/>
                </a:lnTo>
                <a:lnTo>
                  <a:pt x="236163" y="24894"/>
                </a:lnTo>
                <a:lnTo>
                  <a:pt x="195970" y="43333"/>
                </a:lnTo>
                <a:lnTo>
                  <a:pt x="158537" y="66263"/>
                </a:lnTo>
                <a:lnTo>
                  <a:pt x="124210" y="93339"/>
                </a:lnTo>
                <a:lnTo>
                  <a:pt x="93335" y="124214"/>
                </a:lnTo>
                <a:lnTo>
                  <a:pt x="66260" y="158542"/>
                </a:lnTo>
                <a:lnTo>
                  <a:pt x="43330" y="195975"/>
                </a:lnTo>
                <a:lnTo>
                  <a:pt x="24893" y="236167"/>
                </a:lnTo>
                <a:lnTo>
                  <a:pt x="11294" y="278771"/>
                </a:lnTo>
                <a:lnTo>
                  <a:pt x="2881" y="323442"/>
                </a:lnTo>
                <a:lnTo>
                  <a:pt x="0" y="369831"/>
                </a:lnTo>
                <a:lnTo>
                  <a:pt x="2881" y="416223"/>
                </a:lnTo>
                <a:lnTo>
                  <a:pt x="11294" y="460894"/>
                </a:lnTo>
                <a:lnTo>
                  <a:pt x="24893" y="503500"/>
                </a:lnTo>
                <a:lnTo>
                  <a:pt x="43330" y="543692"/>
                </a:lnTo>
                <a:lnTo>
                  <a:pt x="66260" y="581125"/>
                </a:lnTo>
                <a:lnTo>
                  <a:pt x="93335" y="615452"/>
                </a:lnTo>
                <a:lnTo>
                  <a:pt x="124210" y="646327"/>
                </a:lnTo>
                <a:lnTo>
                  <a:pt x="158537" y="673402"/>
                </a:lnTo>
                <a:lnTo>
                  <a:pt x="195970" y="696332"/>
                </a:lnTo>
                <a:lnTo>
                  <a:pt x="236163" y="714769"/>
                </a:lnTo>
                <a:lnTo>
                  <a:pt x="278768" y="728368"/>
                </a:lnTo>
                <a:lnTo>
                  <a:pt x="323440" y="736781"/>
                </a:lnTo>
                <a:lnTo>
                  <a:pt x="369831" y="739663"/>
                </a:lnTo>
                <a:lnTo>
                  <a:pt x="416223" y="736781"/>
                </a:lnTo>
                <a:lnTo>
                  <a:pt x="460894" y="728368"/>
                </a:lnTo>
                <a:lnTo>
                  <a:pt x="503500" y="714769"/>
                </a:lnTo>
                <a:lnTo>
                  <a:pt x="543692" y="696332"/>
                </a:lnTo>
                <a:lnTo>
                  <a:pt x="581125" y="673402"/>
                </a:lnTo>
                <a:lnTo>
                  <a:pt x="615452" y="646327"/>
                </a:lnTo>
                <a:lnTo>
                  <a:pt x="646327" y="615452"/>
                </a:lnTo>
                <a:lnTo>
                  <a:pt x="673402" y="581125"/>
                </a:lnTo>
                <a:lnTo>
                  <a:pt x="696332" y="543692"/>
                </a:lnTo>
                <a:lnTo>
                  <a:pt x="714769" y="503500"/>
                </a:lnTo>
                <a:lnTo>
                  <a:pt x="728368" y="460894"/>
                </a:lnTo>
                <a:lnTo>
                  <a:pt x="736781" y="416223"/>
                </a:lnTo>
                <a:lnTo>
                  <a:pt x="739663" y="369831"/>
                </a:lnTo>
                <a:lnTo>
                  <a:pt x="736781" y="323442"/>
                </a:lnTo>
                <a:lnTo>
                  <a:pt x="728368" y="278771"/>
                </a:lnTo>
                <a:lnTo>
                  <a:pt x="714769" y="236167"/>
                </a:lnTo>
                <a:lnTo>
                  <a:pt x="696332" y="195975"/>
                </a:lnTo>
                <a:lnTo>
                  <a:pt x="673402" y="158542"/>
                </a:lnTo>
                <a:lnTo>
                  <a:pt x="646327" y="124214"/>
                </a:lnTo>
                <a:lnTo>
                  <a:pt x="615452" y="93339"/>
                </a:lnTo>
                <a:lnTo>
                  <a:pt x="581125" y="66263"/>
                </a:lnTo>
                <a:lnTo>
                  <a:pt x="543692" y="43333"/>
                </a:lnTo>
                <a:lnTo>
                  <a:pt x="503500" y="24894"/>
                </a:lnTo>
                <a:lnTo>
                  <a:pt x="460894" y="11295"/>
                </a:lnTo>
                <a:lnTo>
                  <a:pt x="416223" y="2881"/>
                </a:lnTo>
                <a:lnTo>
                  <a:pt x="369831" y="0"/>
                </a:lnTo>
                <a:close/>
              </a:path>
            </a:pathLst>
          </a:custGeom>
          <a:solidFill>
            <a:srgbClr val="E5E5E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en-AU"/>
          </a:p>
        </p:txBody>
      </p:sp>
      <p:sp>
        <p:nvSpPr>
          <p:cNvPr id="46" name="object 33">
            <a:extLst>
              <a:ext uri="{FF2B5EF4-FFF2-40B4-BE49-F238E27FC236}">
                <a16:creationId xmlns:a16="http://schemas.microsoft.com/office/drawing/2014/main" id="{C1DAD056-51BD-8715-5B90-521D3012B6AC}"/>
              </a:ext>
            </a:extLst>
          </p:cNvPr>
          <p:cNvSpPr txBox="1"/>
          <p:nvPr userDrawn="1"/>
        </p:nvSpPr>
        <p:spPr>
          <a:xfrm>
            <a:off x="17853025" y="6540500"/>
            <a:ext cx="552450" cy="176213"/>
          </a:xfrm>
          <a:prstGeom prst="rect">
            <a:avLst/>
          </a:prstGeom>
        </p:spPr>
        <p:txBody>
          <a:bodyPr lIns="0" tIns="15875" rIns="0" bIns="0">
            <a:spAutoFit/>
          </a:bodyPr>
          <a:lstStyle/>
          <a:p>
            <a:pPr marL="12700" algn="ctr" eaLnBrk="1" fontAlgn="auto" hangingPunct="1">
              <a:spcBef>
                <a:spcPts val="125"/>
              </a:spcBef>
              <a:spcAft>
                <a:spcPts val="0"/>
              </a:spcAft>
              <a:defRPr/>
            </a:pPr>
            <a:r>
              <a:rPr lang="it-IT" sz="1050" b="1" spc="290" dirty="0">
                <a:latin typeface="Helvetica Neue"/>
                <a:cs typeface="Helvetica Neue"/>
              </a:rPr>
              <a:t>FIAT</a:t>
            </a:r>
            <a:endParaRPr lang="it-IT" sz="1050" dirty="0">
              <a:latin typeface="Helvetica Neue"/>
              <a:cs typeface="Helvetica Neue"/>
            </a:endParaRPr>
          </a:p>
        </p:txBody>
      </p:sp>
      <p:sp>
        <p:nvSpPr>
          <p:cNvPr id="47" name="object 42">
            <a:extLst>
              <a:ext uri="{FF2B5EF4-FFF2-40B4-BE49-F238E27FC236}">
                <a16:creationId xmlns:a16="http://schemas.microsoft.com/office/drawing/2014/main" id="{1B3284B4-82CE-9532-4AED-737CBBEECADA}"/>
              </a:ext>
            </a:extLst>
          </p:cNvPr>
          <p:cNvSpPr>
            <a:spLocks/>
          </p:cNvSpPr>
          <p:nvPr userDrawn="1"/>
        </p:nvSpPr>
        <p:spPr bwMode="auto">
          <a:xfrm>
            <a:off x="14801850" y="6251575"/>
            <a:ext cx="739775" cy="739775"/>
          </a:xfrm>
          <a:custGeom>
            <a:avLst/>
            <a:gdLst>
              <a:gd name="T0" fmla="*/ 369831 w 739775"/>
              <a:gd name="T1" fmla="*/ 0 h 739775"/>
              <a:gd name="T2" fmla="*/ 323440 w 739775"/>
              <a:gd name="T3" fmla="*/ 2881 h 739775"/>
              <a:gd name="T4" fmla="*/ 278768 w 739775"/>
              <a:gd name="T5" fmla="*/ 11295 h 739775"/>
              <a:gd name="T6" fmla="*/ 236163 w 739775"/>
              <a:gd name="T7" fmla="*/ 24894 h 739775"/>
              <a:gd name="T8" fmla="*/ 195970 w 739775"/>
              <a:gd name="T9" fmla="*/ 43333 h 739775"/>
              <a:gd name="T10" fmla="*/ 158537 w 739775"/>
              <a:gd name="T11" fmla="*/ 66263 h 739775"/>
              <a:gd name="T12" fmla="*/ 124210 w 739775"/>
              <a:gd name="T13" fmla="*/ 93339 h 739775"/>
              <a:gd name="T14" fmla="*/ 93335 w 739775"/>
              <a:gd name="T15" fmla="*/ 124214 h 739775"/>
              <a:gd name="T16" fmla="*/ 66260 w 739775"/>
              <a:gd name="T17" fmla="*/ 158542 h 739775"/>
              <a:gd name="T18" fmla="*/ 43330 w 739775"/>
              <a:gd name="T19" fmla="*/ 195975 h 739775"/>
              <a:gd name="T20" fmla="*/ 24893 w 739775"/>
              <a:gd name="T21" fmla="*/ 236167 h 739775"/>
              <a:gd name="T22" fmla="*/ 11294 w 739775"/>
              <a:gd name="T23" fmla="*/ 278771 h 739775"/>
              <a:gd name="T24" fmla="*/ 2881 w 739775"/>
              <a:gd name="T25" fmla="*/ 323442 h 739775"/>
              <a:gd name="T26" fmla="*/ 0 w 739775"/>
              <a:gd name="T27" fmla="*/ 369831 h 739775"/>
              <a:gd name="T28" fmla="*/ 2881 w 739775"/>
              <a:gd name="T29" fmla="*/ 416223 h 739775"/>
              <a:gd name="T30" fmla="*/ 11294 w 739775"/>
              <a:gd name="T31" fmla="*/ 460894 h 739775"/>
              <a:gd name="T32" fmla="*/ 24893 w 739775"/>
              <a:gd name="T33" fmla="*/ 503500 h 739775"/>
              <a:gd name="T34" fmla="*/ 43330 w 739775"/>
              <a:gd name="T35" fmla="*/ 543692 h 739775"/>
              <a:gd name="T36" fmla="*/ 66260 w 739775"/>
              <a:gd name="T37" fmla="*/ 581125 h 739775"/>
              <a:gd name="T38" fmla="*/ 93335 w 739775"/>
              <a:gd name="T39" fmla="*/ 615452 h 739775"/>
              <a:gd name="T40" fmla="*/ 124210 w 739775"/>
              <a:gd name="T41" fmla="*/ 646327 h 739775"/>
              <a:gd name="T42" fmla="*/ 158537 w 739775"/>
              <a:gd name="T43" fmla="*/ 673402 h 739775"/>
              <a:gd name="T44" fmla="*/ 195970 w 739775"/>
              <a:gd name="T45" fmla="*/ 696332 h 739775"/>
              <a:gd name="T46" fmla="*/ 236163 w 739775"/>
              <a:gd name="T47" fmla="*/ 714769 h 739775"/>
              <a:gd name="T48" fmla="*/ 278768 w 739775"/>
              <a:gd name="T49" fmla="*/ 728368 h 739775"/>
              <a:gd name="T50" fmla="*/ 323440 w 739775"/>
              <a:gd name="T51" fmla="*/ 736781 h 739775"/>
              <a:gd name="T52" fmla="*/ 369831 w 739775"/>
              <a:gd name="T53" fmla="*/ 739663 h 739775"/>
              <a:gd name="T54" fmla="*/ 416223 w 739775"/>
              <a:gd name="T55" fmla="*/ 736781 h 739775"/>
              <a:gd name="T56" fmla="*/ 460894 w 739775"/>
              <a:gd name="T57" fmla="*/ 728368 h 739775"/>
              <a:gd name="T58" fmla="*/ 503500 w 739775"/>
              <a:gd name="T59" fmla="*/ 714769 h 739775"/>
              <a:gd name="T60" fmla="*/ 543692 w 739775"/>
              <a:gd name="T61" fmla="*/ 696332 h 739775"/>
              <a:gd name="T62" fmla="*/ 581125 w 739775"/>
              <a:gd name="T63" fmla="*/ 673402 h 739775"/>
              <a:gd name="T64" fmla="*/ 615452 w 739775"/>
              <a:gd name="T65" fmla="*/ 646327 h 739775"/>
              <a:gd name="T66" fmla="*/ 646327 w 739775"/>
              <a:gd name="T67" fmla="*/ 615452 h 739775"/>
              <a:gd name="T68" fmla="*/ 673402 w 739775"/>
              <a:gd name="T69" fmla="*/ 581125 h 739775"/>
              <a:gd name="T70" fmla="*/ 696332 w 739775"/>
              <a:gd name="T71" fmla="*/ 543692 h 739775"/>
              <a:gd name="T72" fmla="*/ 714769 w 739775"/>
              <a:gd name="T73" fmla="*/ 503500 h 739775"/>
              <a:gd name="T74" fmla="*/ 728368 w 739775"/>
              <a:gd name="T75" fmla="*/ 460894 h 739775"/>
              <a:gd name="T76" fmla="*/ 736781 w 739775"/>
              <a:gd name="T77" fmla="*/ 416223 h 739775"/>
              <a:gd name="T78" fmla="*/ 739663 w 739775"/>
              <a:gd name="T79" fmla="*/ 369831 h 739775"/>
              <a:gd name="T80" fmla="*/ 736781 w 739775"/>
              <a:gd name="T81" fmla="*/ 323442 h 739775"/>
              <a:gd name="T82" fmla="*/ 728368 w 739775"/>
              <a:gd name="T83" fmla="*/ 278771 h 739775"/>
              <a:gd name="T84" fmla="*/ 714769 w 739775"/>
              <a:gd name="T85" fmla="*/ 236167 h 739775"/>
              <a:gd name="T86" fmla="*/ 696332 w 739775"/>
              <a:gd name="T87" fmla="*/ 195975 h 739775"/>
              <a:gd name="T88" fmla="*/ 673402 w 739775"/>
              <a:gd name="T89" fmla="*/ 158542 h 739775"/>
              <a:gd name="T90" fmla="*/ 646327 w 739775"/>
              <a:gd name="T91" fmla="*/ 124214 h 739775"/>
              <a:gd name="T92" fmla="*/ 615452 w 739775"/>
              <a:gd name="T93" fmla="*/ 93339 h 739775"/>
              <a:gd name="T94" fmla="*/ 581125 w 739775"/>
              <a:gd name="T95" fmla="*/ 66263 h 739775"/>
              <a:gd name="T96" fmla="*/ 543692 w 739775"/>
              <a:gd name="T97" fmla="*/ 43333 h 739775"/>
              <a:gd name="T98" fmla="*/ 503500 w 739775"/>
              <a:gd name="T99" fmla="*/ 24894 h 739775"/>
              <a:gd name="T100" fmla="*/ 460894 w 739775"/>
              <a:gd name="T101" fmla="*/ 11295 h 739775"/>
              <a:gd name="T102" fmla="*/ 416223 w 739775"/>
              <a:gd name="T103" fmla="*/ 2881 h 739775"/>
              <a:gd name="T104" fmla="*/ 369831 w 739775"/>
              <a:gd name="T105" fmla="*/ 0 h 7397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739775" h="739775">
                <a:moveTo>
                  <a:pt x="369831" y="0"/>
                </a:moveTo>
                <a:lnTo>
                  <a:pt x="323440" y="2881"/>
                </a:lnTo>
                <a:lnTo>
                  <a:pt x="278768" y="11295"/>
                </a:lnTo>
                <a:lnTo>
                  <a:pt x="236163" y="24894"/>
                </a:lnTo>
                <a:lnTo>
                  <a:pt x="195970" y="43333"/>
                </a:lnTo>
                <a:lnTo>
                  <a:pt x="158537" y="66263"/>
                </a:lnTo>
                <a:lnTo>
                  <a:pt x="124210" y="93339"/>
                </a:lnTo>
                <a:lnTo>
                  <a:pt x="93335" y="124214"/>
                </a:lnTo>
                <a:lnTo>
                  <a:pt x="66260" y="158542"/>
                </a:lnTo>
                <a:lnTo>
                  <a:pt x="43330" y="195975"/>
                </a:lnTo>
                <a:lnTo>
                  <a:pt x="24893" y="236167"/>
                </a:lnTo>
                <a:lnTo>
                  <a:pt x="11294" y="278771"/>
                </a:lnTo>
                <a:lnTo>
                  <a:pt x="2881" y="323442"/>
                </a:lnTo>
                <a:lnTo>
                  <a:pt x="0" y="369831"/>
                </a:lnTo>
                <a:lnTo>
                  <a:pt x="2881" y="416223"/>
                </a:lnTo>
                <a:lnTo>
                  <a:pt x="11294" y="460894"/>
                </a:lnTo>
                <a:lnTo>
                  <a:pt x="24893" y="503500"/>
                </a:lnTo>
                <a:lnTo>
                  <a:pt x="43330" y="543692"/>
                </a:lnTo>
                <a:lnTo>
                  <a:pt x="66260" y="581125"/>
                </a:lnTo>
                <a:lnTo>
                  <a:pt x="93335" y="615452"/>
                </a:lnTo>
                <a:lnTo>
                  <a:pt x="124210" y="646327"/>
                </a:lnTo>
                <a:lnTo>
                  <a:pt x="158537" y="673402"/>
                </a:lnTo>
                <a:lnTo>
                  <a:pt x="195970" y="696332"/>
                </a:lnTo>
                <a:lnTo>
                  <a:pt x="236163" y="714769"/>
                </a:lnTo>
                <a:lnTo>
                  <a:pt x="278768" y="728368"/>
                </a:lnTo>
                <a:lnTo>
                  <a:pt x="323440" y="736781"/>
                </a:lnTo>
                <a:lnTo>
                  <a:pt x="369831" y="739663"/>
                </a:lnTo>
                <a:lnTo>
                  <a:pt x="416223" y="736781"/>
                </a:lnTo>
                <a:lnTo>
                  <a:pt x="460894" y="728368"/>
                </a:lnTo>
                <a:lnTo>
                  <a:pt x="503500" y="714769"/>
                </a:lnTo>
                <a:lnTo>
                  <a:pt x="543692" y="696332"/>
                </a:lnTo>
                <a:lnTo>
                  <a:pt x="581125" y="673402"/>
                </a:lnTo>
                <a:lnTo>
                  <a:pt x="615452" y="646327"/>
                </a:lnTo>
                <a:lnTo>
                  <a:pt x="646327" y="615452"/>
                </a:lnTo>
                <a:lnTo>
                  <a:pt x="673402" y="581125"/>
                </a:lnTo>
                <a:lnTo>
                  <a:pt x="696332" y="543692"/>
                </a:lnTo>
                <a:lnTo>
                  <a:pt x="714769" y="503500"/>
                </a:lnTo>
                <a:lnTo>
                  <a:pt x="728368" y="460894"/>
                </a:lnTo>
                <a:lnTo>
                  <a:pt x="736781" y="416223"/>
                </a:lnTo>
                <a:lnTo>
                  <a:pt x="739663" y="369831"/>
                </a:lnTo>
                <a:lnTo>
                  <a:pt x="736781" y="323442"/>
                </a:lnTo>
                <a:lnTo>
                  <a:pt x="728368" y="278771"/>
                </a:lnTo>
                <a:lnTo>
                  <a:pt x="714769" y="236167"/>
                </a:lnTo>
                <a:lnTo>
                  <a:pt x="696332" y="195975"/>
                </a:lnTo>
                <a:lnTo>
                  <a:pt x="673402" y="158542"/>
                </a:lnTo>
                <a:lnTo>
                  <a:pt x="646327" y="124214"/>
                </a:lnTo>
                <a:lnTo>
                  <a:pt x="615452" y="93339"/>
                </a:lnTo>
                <a:lnTo>
                  <a:pt x="581125" y="66263"/>
                </a:lnTo>
                <a:lnTo>
                  <a:pt x="543692" y="43333"/>
                </a:lnTo>
                <a:lnTo>
                  <a:pt x="503500" y="24894"/>
                </a:lnTo>
                <a:lnTo>
                  <a:pt x="460894" y="11295"/>
                </a:lnTo>
                <a:lnTo>
                  <a:pt x="416223" y="2881"/>
                </a:lnTo>
                <a:lnTo>
                  <a:pt x="369831" y="0"/>
                </a:lnTo>
                <a:close/>
              </a:path>
            </a:pathLst>
          </a:custGeom>
          <a:solidFill>
            <a:srgbClr val="E5E5E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en-AU"/>
          </a:p>
        </p:txBody>
      </p:sp>
      <p:sp>
        <p:nvSpPr>
          <p:cNvPr id="48" name="object 43">
            <a:extLst>
              <a:ext uri="{FF2B5EF4-FFF2-40B4-BE49-F238E27FC236}">
                <a16:creationId xmlns:a16="http://schemas.microsoft.com/office/drawing/2014/main" id="{49B9E6A6-B026-7775-EA88-B33CE7EA4AA4}"/>
              </a:ext>
            </a:extLst>
          </p:cNvPr>
          <p:cNvSpPr txBox="1"/>
          <p:nvPr userDrawn="1"/>
        </p:nvSpPr>
        <p:spPr>
          <a:xfrm>
            <a:off x="14773275" y="6540500"/>
            <a:ext cx="795338" cy="176213"/>
          </a:xfrm>
          <a:prstGeom prst="rect">
            <a:avLst/>
          </a:prstGeom>
        </p:spPr>
        <p:txBody>
          <a:bodyPr lIns="0" tIns="15875" rIns="0" bIns="0">
            <a:spAutoFit/>
          </a:bodyPr>
          <a:lstStyle/>
          <a:p>
            <a:pPr marL="12700" algn="ctr" eaLnBrk="1" fontAlgn="auto" hangingPunct="1">
              <a:spcBef>
                <a:spcPts val="125"/>
              </a:spcBef>
              <a:spcAft>
                <a:spcPts val="0"/>
              </a:spcAft>
              <a:defRPr/>
            </a:pPr>
            <a:r>
              <a:rPr lang="it-IT" sz="1050" b="1" spc="195" dirty="0">
                <a:latin typeface="Helvetica Neue"/>
                <a:cs typeface="Helvetica Neue"/>
              </a:rPr>
              <a:t>CITRO</a:t>
            </a:r>
            <a:endParaRPr lang="it-IT" sz="1050" dirty="0">
              <a:latin typeface="Helvetica Neue"/>
              <a:cs typeface="Helvetica Neue"/>
            </a:endParaRPr>
          </a:p>
        </p:txBody>
      </p:sp>
      <p:sp>
        <p:nvSpPr>
          <p:cNvPr id="49" name="object 32">
            <a:extLst>
              <a:ext uri="{FF2B5EF4-FFF2-40B4-BE49-F238E27FC236}">
                <a16:creationId xmlns:a16="http://schemas.microsoft.com/office/drawing/2014/main" id="{3FED80E5-90D3-9F22-BF6F-97AF4CBADB28}"/>
              </a:ext>
            </a:extLst>
          </p:cNvPr>
          <p:cNvSpPr>
            <a:spLocks/>
          </p:cNvSpPr>
          <p:nvPr userDrawn="1"/>
        </p:nvSpPr>
        <p:spPr bwMode="auto">
          <a:xfrm>
            <a:off x="13981113" y="6251575"/>
            <a:ext cx="739775" cy="739775"/>
          </a:xfrm>
          <a:custGeom>
            <a:avLst/>
            <a:gdLst>
              <a:gd name="T0" fmla="*/ 369831 w 739775"/>
              <a:gd name="T1" fmla="*/ 0 h 739775"/>
              <a:gd name="T2" fmla="*/ 323440 w 739775"/>
              <a:gd name="T3" fmla="*/ 2881 h 739775"/>
              <a:gd name="T4" fmla="*/ 278768 w 739775"/>
              <a:gd name="T5" fmla="*/ 11295 h 739775"/>
              <a:gd name="T6" fmla="*/ 236163 w 739775"/>
              <a:gd name="T7" fmla="*/ 24894 h 739775"/>
              <a:gd name="T8" fmla="*/ 195970 w 739775"/>
              <a:gd name="T9" fmla="*/ 43333 h 739775"/>
              <a:gd name="T10" fmla="*/ 158537 w 739775"/>
              <a:gd name="T11" fmla="*/ 66263 h 739775"/>
              <a:gd name="T12" fmla="*/ 124210 w 739775"/>
              <a:gd name="T13" fmla="*/ 93339 h 739775"/>
              <a:gd name="T14" fmla="*/ 93335 w 739775"/>
              <a:gd name="T15" fmla="*/ 124214 h 739775"/>
              <a:gd name="T16" fmla="*/ 66260 w 739775"/>
              <a:gd name="T17" fmla="*/ 158542 h 739775"/>
              <a:gd name="T18" fmla="*/ 43330 w 739775"/>
              <a:gd name="T19" fmla="*/ 195975 h 739775"/>
              <a:gd name="T20" fmla="*/ 24893 w 739775"/>
              <a:gd name="T21" fmla="*/ 236167 h 739775"/>
              <a:gd name="T22" fmla="*/ 11294 w 739775"/>
              <a:gd name="T23" fmla="*/ 278771 h 739775"/>
              <a:gd name="T24" fmla="*/ 2881 w 739775"/>
              <a:gd name="T25" fmla="*/ 323442 h 739775"/>
              <a:gd name="T26" fmla="*/ 0 w 739775"/>
              <a:gd name="T27" fmla="*/ 369831 h 739775"/>
              <a:gd name="T28" fmla="*/ 2881 w 739775"/>
              <a:gd name="T29" fmla="*/ 416223 h 739775"/>
              <a:gd name="T30" fmla="*/ 11294 w 739775"/>
              <a:gd name="T31" fmla="*/ 460894 h 739775"/>
              <a:gd name="T32" fmla="*/ 24893 w 739775"/>
              <a:gd name="T33" fmla="*/ 503500 h 739775"/>
              <a:gd name="T34" fmla="*/ 43330 w 739775"/>
              <a:gd name="T35" fmla="*/ 543692 h 739775"/>
              <a:gd name="T36" fmla="*/ 66260 w 739775"/>
              <a:gd name="T37" fmla="*/ 581125 h 739775"/>
              <a:gd name="T38" fmla="*/ 93335 w 739775"/>
              <a:gd name="T39" fmla="*/ 615452 h 739775"/>
              <a:gd name="T40" fmla="*/ 124210 w 739775"/>
              <a:gd name="T41" fmla="*/ 646327 h 739775"/>
              <a:gd name="T42" fmla="*/ 158537 w 739775"/>
              <a:gd name="T43" fmla="*/ 673402 h 739775"/>
              <a:gd name="T44" fmla="*/ 195970 w 739775"/>
              <a:gd name="T45" fmla="*/ 696332 h 739775"/>
              <a:gd name="T46" fmla="*/ 236163 w 739775"/>
              <a:gd name="T47" fmla="*/ 714769 h 739775"/>
              <a:gd name="T48" fmla="*/ 278768 w 739775"/>
              <a:gd name="T49" fmla="*/ 728368 h 739775"/>
              <a:gd name="T50" fmla="*/ 323440 w 739775"/>
              <a:gd name="T51" fmla="*/ 736781 h 739775"/>
              <a:gd name="T52" fmla="*/ 369831 w 739775"/>
              <a:gd name="T53" fmla="*/ 739663 h 739775"/>
              <a:gd name="T54" fmla="*/ 416223 w 739775"/>
              <a:gd name="T55" fmla="*/ 736781 h 739775"/>
              <a:gd name="T56" fmla="*/ 460894 w 739775"/>
              <a:gd name="T57" fmla="*/ 728368 h 739775"/>
              <a:gd name="T58" fmla="*/ 503500 w 739775"/>
              <a:gd name="T59" fmla="*/ 714769 h 739775"/>
              <a:gd name="T60" fmla="*/ 543692 w 739775"/>
              <a:gd name="T61" fmla="*/ 696332 h 739775"/>
              <a:gd name="T62" fmla="*/ 581125 w 739775"/>
              <a:gd name="T63" fmla="*/ 673402 h 739775"/>
              <a:gd name="T64" fmla="*/ 615452 w 739775"/>
              <a:gd name="T65" fmla="*/ 646327 h 739775"/>
              <a:gd name="T66" fmla="*/ 646327 w 739775"/>
              <a:gd name="T67" fmla="*/ 615452 h 739775"/>
              <a:gd name="T68" fmla="*/ 673402 w 739775"/>
              <a:gd name="T69" fmla="*/ 581125 h 739775"/>
              <a:gd name="T70" fmla="*/ 696332 w 739775"/>
              <a:gd name="T71" fmla="*/ 543692 h 739775"/>
              <a:gd name="T72" fmla="*/ 714769 w 739775"/>
              <a:gd name="T73" fmla="*/ 503500 h 739775"/>
              <a:gd name="T74" fmla="*/ 728368 w 739775"/>
              <a:gd name="T75" fmla="*/ 460894 h 739775"/>
              <a:gd name="T76" fmla="*/ 736781 w 739775"/>
              <a:gd name="T77" fmla="*/ 416223 h 739775"/>
              <a:gd name="T78" fmla="*/ 739663 w 739775"/>
              <a:gd name="T79" fmla="*/ 369831 h 739775"/>
              <a:gd name="T80" fmla="*/ 736781 w 739775"/>
              <a:gd name="T81" fmla="*/ 323442 h 739775"/>
              <a:gd name="T82" fmla="*/ 728368 w 739775"/>
              <a:gd name="T83" fmla="*/ 278771 h 739775"/>
              <a:gd name="T84" fmla="*/ 714769 w 739775"/>
              <a:gd name="T85" fmla="*/ 236167 h 739775"/>
              <a:gd name="T86" fmla="*/ 696332 w 739775"/>
              <a:gd name="T87" fmla="*/ 195975 h 739775"/>
              <a:gd name="T88" fmla="*/ 673402 w 739775"/>
              <a:gd name="T89" fmla="*/ 158542 h 739775"/>
              <a:gd name="T90" fmla="*/ 646327 w 739775"/>
              <a:gd name="T91" fmla="*/ 124214 h 739775"/>
              <a:gd name="T92" fmla="*/ 615452 w 739775"/>
              <a:gd name="T93" fmla="*/ 93339 h 739775"/>
              <a:gd name="T94" fmla="*/ 581125 w 739775"/>
              <a:gd name="T95" fmla="*/ 66263 h 739775"/>
              <a:gd name="T96" fmla="*/ 543692 w 739775"/>
              <a:gd name="T97" fmla="*/ 43333 h 739775"/>
              <a:gd name="T98" fmla="*/ 503500 w 739775"/>
              <a:gd name="T99" fmla="*/ 24894 h 739775"/>
              <a:gd name="T100" fmla="*/ 460894 w 739775"/>
              <a:gd name="T101" fmla="*/ 11295 h 739775"/>
              <a:gd name="T102" fmla="*/ 416223 w 739775"/>
              <a:gd name="T103" fmla="*/ 2881 h 739775"/>
              <a:gd name="T104" fmla="*/ 369831 w 739775"/>
              <a:gd name="T105" fmla="*/ 0 h 7397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739775" h="739775">
                <a:moveTo>
                  <a:pt x="369831" y="0"/>
                </a:moveTo>
                <a:lnTo>
                  <a:pt x="323440" y="2881"/>
                </a:lnTo>
                <a:lnTo>
                  <a:pt x="278768" y="11295"/>
                </a:lnTo>
                <a:lnTo>
                  <a:pt x="236163" y="24894"/>
                </a:lnTo>
                <a:lnTo>
                  <a:pt x="195970" y="43333"/>
                </a:lnTo>
                <a:lnTo>
                  <a:pt x="158537" y="66263"/>
                </a:lnTo>
                <a:lnTo>
                  <a:pt x="124210" y="93339"/>
                </a:lnTo>
                <a:lnTo>
                  <a:pt x="93335" y="124214"/>
                </a:lnTo>
                <a:lnTo>
                  <a:pt x="66260" y="158542"/>
                </a:lnTo>
                <a:lnTo>
                  <a:pt x="43330" y="195975"/>
                </a:lnTo>
                <a:lnTo>
                  <a:pt x="24893" y="236167"/>
                </a:lnTo>
                <a:lnTo>
                  <a:pt x="11294" y="278771"/>
                </a:lnTo>
                <a:lnTo>
                  <a:pt x="2881" y="323442"/>
                </a:lnTo>
                <a:lnTo>
                  <a:pt x="0" y="369831"/>
                </a:lnTo>
                <a:lnTo>
                  <a:pt x="2881" y="416223"/>
                </a:lnTo>
                <a:lnTo>
                  <a:pt x="11294" y="460894"/>
                </a:lnTo>
                <a:lnTo>
                  <a:pt x="24893" y="503500"/>
                </a:lnTo>
                <a:lnTo>
                  <a:pt x="43330" y="543692"/>
                </a:lnTo>
                <a:lnTo>
                  <a:pt x="66260" y="581125"/>
                </a:lnTo>
                <a:lnTo>
                  <a:pt x="93335" y="615452"/>
                </a:lnTo>
                <a:lnTo>
                  <a:pt x="124210" y="646327"/>
                </a:lnTo>
                <a:lnTo>
                  <a:pt x="158537" y="673402"/>
                </a:lnTo>
                <a:lnTo>
                  <a:pt x="195970" y="696332"/>
                </a:lnTo>
                <a:lnTo>
                  <a:pt x="236163" y="714769"/>
                </a:lnTo>
                <a:lnTo>
                  <a:pt x="278768" y="728368"/>
                </a:lnTo>
                <a:lnTo>
                  <a:pt x="323440" y="736781"/>
                </a:lnTo>
                <a:lnTo>
                  <a:pt x="369831" y="739663"/>
                </a:lnTo>
                <a:lnTo>
                  <a:pt x="416223" y="736781"/>
                </a:lnTo>
                <a:lnTo>
                  <a:pt x="460894" y="728368"/>
                </a:lnTo>
                <a:lnTo>
                  <a:pt x="503500" y="714769"/>
                </a:lnTo>
                <a:lnTo>
                  <a:pt x="543692" y="696332"/>
                </a:lnTo>
                <a:lnTo>
                  <a:pt x="581125" y="673402"/>
                </a:lnTo>
                <a:lnTo>
                  <a:pt x="615452" y="646327"/>
                </a:lnTo>
                <a:lnTo>
                  <a:pt x="646327" y="615452"/>
                </a:lnTo>
                <a:lnTo>
                  <a:pt x="673402" y="581125"/>
                </a:lnTo>
                <a:lnTo>
                  <a:pt x="696332" y="543692"/>
                </a:lnTo>
                <a:lnTo>
                  <a:pt x="714769" y="503500"/>
                </a:lnTo>
                <a:lnTo>
                  <a:pt x="728368" y="460894"/>
                </a:lnTo>
                <a:lnTo>
                  <a:pt x="736781" y="416223"/>
                </a:lnTo>
                <a:lnTo>
                  <a:pt x="739663" y="369831"/>
                </a:lnTo>
                <a:lnTo>
                  <a:pt x="736781" y="323442"/>
                </a:lnTo>
                <a:lnTo>
                  <a:pt x="728368" y="278771"/>
                </a:lnTo>
                <a:lnTo>
                  <a:pt x="714769" y="236167"/>
                </a:lnTo>
                <a:lnTo>
                  <a:pt x="696332" y="195975"/>
                </a:lnTo>
                <a:lnTo>
                  <a:pt x="673402" y="158542"/>
                </a:lnTo>
                <a:lnTo>
                  <a:pt x="646327" y="124214"/>
                </a:lnTo>
                <a:lnTo>
                  <a:pt x="615452" y="93339"/>
                </a:lnTo>
                <a:lnTo>
                  <a:pt x="581125" y="66263"/>
                </a:lnTo>
                <a:lnTo>
                  <a:pt x="543692" y="43333"/>
                </a:lnTo>
                <a:lnTo>
                  <a:pt x="503500" y="24894"/>
                </a:lnTo>
                <a:lnTo>
                  <a:pt x="460894" y="11295"/>
                </a:lnTo>
                <a:lnTo>
                  <a:pt x="416223" y="2881"/>
                </a:lnTo>
                <a:lnTo>
                  <a:pt x="369831" y="0"/>
                </a:lnTo>
                <a:close/>
              </a:path>
            </a:pathLst>
          </a:custGeom>
          <a:solidFill>
            <a:srgbClr val="E5E5E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en-AU"/>
          </a:p>
        </p:txBody>
      </p:sp>
      <p:sp>
        <p:nvSpPr>
          <p:cNvPr id="50" name="object 33">
            <a:extLst>
              <a:ext uri="{FF2B5EF4-FFF2-40B4-BE49-F238E27FC236}">
                <a16:creationId xmlns:a16="http://schemas.microsoft.com/office/drawing/2014/main" id="{6632974F-B481-4F77-3991-5BE27164E20F}"/>
              </a:ext>
            </a:extLst>
          </p:cNvPr>
          <p:cNvSpPr txBox="1"/>
          <p:nvPr userDrawn="1"/>
        </p:nvSpPr>
        <p:spPr>
          <a:xfrm>
            <a:off x="14073188" y="6540500"/>
            <a:ext cx="554037" cy="176213"/>
          </a:xfrm>
          <a:prstGeom prst="rect">
            <a:avLst/>
          </a:prstGeom>
        </p:spPr>
        <p:txBody>
          <a:bodyPr lIns="0" tIns="15875" rIns="0" bIns="0">
            <a:spAutoFit/>
          </a:bodyPr>
          <a:lstStyle/>
          <a:p>
            <a:pPr marL="12700" algn="ctr" eaLnBrk="1" fontAlgn="auto" hangingPunct="1">
              <a:spcBef>
                <a:spcPts val="125"/>
              </a:spcBef>
              <a:spcAft>
                <a:spcPts val="0"/>
              </a:spcAft>
              <a:defRPr/>
            </a:pPr>
            <a:r>
              <a:rPr lang="it-IT" sz="1050" b="1" spc="290" dirty="0">
                <a:latin typeface="Helvetica Neue"/>
                <a:cs typeface="Helvetica Neue"/>
              </a:rPr>
              <a:t>FIAT</a:t>
            </a:r>
            <a:endParaRPr lang="it-IT" sz="1050" dirty="0">
              <a:latin typeface="Helvetica Neue"/>
              <a:cs typeface="Helvetica Neue"/>
            </a:endParaRPr>
          </a:p>
        </p:txBody>
      </p:sp>
      <p:sp>
        <p:nvSpPr>
          <p:cNvPr id="25" name="Segnaposto testo 24"/>
          <p:cNvSpPr>
            <a:spLocks noGrp="1"/>
          </p:cNvSpPr>
          <p:nvPr>
            <p:ph type="body" sz="quarter" idx="12"/>
          </p:nvPr>
        </p:nvSpPr>
        <p:spPr>
          <a:xfrm>
            <a:off x="788186" y="2132907"/>
            <a:ext cx="3033410" cy="300782"/>
          </a:xfrm>
        </p:spPr>
        <p:txBody>
          <a:bodyPr/>
          <a:lstStyle>
            <a:lvl1pPr>
              <a:defRPr sz="1550" b="1" i="0" spc="300">
                <a:latin typeface="Helvetica" pitchFamily="2" charset="0"/>
              </a:defRPr>
            </a:lvl1pPr>
            <a:lvl2pPr>
              <a:defRPr sz="1550" b="1" i="0">
                <a:latin typeface="Helvetica" pitchFamily="2" charset="0"/>
              </a:defRPr>
            </a:lvl2pPr>
            <a:lvl3pPr>
              <a:defRPr sz="1550" b="1" i="0">
                <a:latin typeface="Helvetica" pitchFamily="2" charset="0"/>
              </a:defRPr>
            </a:lvl3pPr>
            <a:lvl4pPr>
              <a:defRPr sz="1550" b="1" i="0">
                <a:latin typeface="Helvetica" pitchFamily="2" charset="0"/>
              </a:defRPr>
            </a:lvl4pPr>
            <a:lvl5pPr>
              <a:defRPr sz="1550" b="1" i="0">
                <a:latin typeface="Helvetica" pitchFamily="2" charset="0"/>
              </a:defRPr>
            </a:lvl5pPr>
          </a:lstStyle>
          <a:p>
            <a:pPr lvl="0"/>
            <a:r>
              <a:rPr lang="sl-SI"/>
              <a:t>Kliknite za urejanje slogov besedila matrice</a:t>
            </a:r>
          </a:p>
        </p:txBody>
      </p:sp>
      <p:sp>
        <p:nvSpPr>
          <p:cNvPr id="84" name="Holder 4"/>
          <p:cNvSpPr>
            <a:spLocks noGrp="1"/>
          </p:cNvSpPr>
          <p:nvPr>
            <p:ph sz="half" idx="3"/>
          </p:nvPr>
        </p:nvSpPr>
        <p:spPr>
          <a:xfrm>
            <a:off x="813211" y="2735061"/>
            <a:ext cx="2922364" cy="1939763"/>
          </a:xfrm>
          <a:prstGeom prst="rect">
            <a:avLst/>
          </a:prstGeom>
          <a:solidFill>
            <a:srgbClr val="E5E5E5"/>
          </a:solidFill>
        </p:spPr>
        <p:txBody>
          <a:bodyPr/>
          <a:lstStyle>
            <a:lvl1pPr>
              <a:defRPr/>
            </a:lvl1pPr>
          </a:lstStyle>
          <a:p>
            <a:endParaRPr dirty="0"/>
          </a:p>
        </p:txBody>
      </p:sp>
      <p:sp>
        <p:nvSpPr>
          <p:cNvPr id="85" name="Holder 4"/>
          <p:cNvSpPr>
            <a:spLocks noGrp="1"/>
          </p:cNvSpPr>
          <p:nvPr>
            <p:ph sz="half" idx="13"/>
          </p:nvPr>
        </p:nvSpPr>
        <p:spPr>
          <a:xfrm>
            <a:off x="3932623" y="2735061"/>
            <a:ext cx="2922364" cy="1939763"/>
          </a:xfrm>
          <a:prstGeom prst="rect">
            <a:avLst/>
          </a:prstGeom>
          <a:solidFill>
            <a:srgbClr val="E5E5E5"/>
          </a:solidFill>
        </p:spPr>
        <p:txBody>
          <a:bodyPr/>
          <a:lstStyle>
            <a:lvl1pPr>
              <a:defRPr/>
            </a:lvl1pPr>
          </a:lstStyle>
          <a:p>
            <a:endParaRPr dirty="0"/>
          </a:p>
        </p:txBody>
      </p:sp>
      <p:sp>
        <p:nvSpPr>
          <p:cNvPr id="86" name="Holder 4"/>
          <p:cNvSpPr>
            <a:spLocks noGrp="1"/>
          </p:cNvSpPr>
          <p:nvPr>
            <p:ph sz="half" idx="14"/>
          </p:nvPr>
        </p:nvSpPr>
        <p:spPr>
          <a:xfrm>
            <a:off x="7052035" y="2735061"/>
            <a:ext cx="2922364" cy="1939763"/>
          </a:xfrm>
          <a:prstGeom prst="rect">
            <a:avLst/>
          </a:prstGeom>
          <a:solidFill>
            <a:srgbClr val="E5E5E5"/>
          </a:solidFill>
        </p:spPr>
        <p:txBody>
          <a:bodyPr/>
          <a:lstStyle>
            <a:lvl1pPr>
              <a:defRPr/>
            </a:lvl1pPr>
          </a:lstStyle>
          <a:p>
            <a:endParaRPr dirty="0"/>
          </a:p>
        </p:txBody>
      </p:sp>
      <p:sp>
        <p:nvSpPr>
          <p:cNvPr id="87" name="Holder 4"/>
          <p:cNvSpPr>
            <a:spLocks noGrp="1"/>
          </p:cNvSpPr>
          <p:nvPr>
            <p:ph sz="half" idx="15"/>
          </p:nvPr>
        </p:nvSpPr>
        <p:spPr>
          <a:xfrm>
            <a:off x="10171447" y="2735061"/>
            <a:ext cx="2922364" cy="1939763"/>
          </a:xfrm>
          <a:prstGeom prst="rect">
            <a:avLst/>
          </a:prstGeom>
          <a:solidFill>
            <a:srgbClr val="E5E5E5"/>
          </a:solidFill>
        </p:spPr>
        <p:txBody>
          <a:bodyPr/>
          <a:lstStyle>
            <a:lvl1pPr>
              <a:defRPr/>
            </a:lvl1pPr>
          </a:lstStyle>
          <a:p>
            <a:endParaRPr dirty="0"/>
          </a:p>
        </p:txBody>
      </p:sp>
      <p:sp>
        <p:nvSpPr>
          <p:cNvPr id="88" name="Holder 4"/>
          <p:cNvSpPr>
            <a:spLocks noGrp="1"/>
          </p:cNvSpPr>
          <p:nvPr>
            <p:ph sz="half" idx="16"/>
          </p:nvPr>
        </p:nvSpPr>
        <p:spPr>
          <a:xfrm>
            <a:off x="13290859" y="2735061"/>
            <a:ext cx="2922364" cy="1939763"/>
          </a:xfrm>
          <a:prstGeom prst="rect">
            <a:avLst/>
          </a:prstGeom>
          <a:solidFill>
            <a:srgbClr val="E5E5E5"/>
          </a:solidFill>
        </p:spPr>
        <p:txBody>
          <a:bodyPr/>
          <a:lstStyle>
            <a:lvl1pPr>
              <a:defRPr/>
            </a:lvl1pPr>
          </a:lstStyle>
          <a:p>
            <a:endParaRPr dirty="0"/>
          </a:p>
        </p:txBody>
      </p:sp>
      <p:sp>
        <p:nvSpPr>
          <p:cNvPr id="89" name="Holder 4"/>
          <p:cNvSpPr>
            <a:spLocks noGrp="1"/>
          </p:cNvSpPr>
          <p:nvPr>
            <p:ph sz="half" idx="17"/>
          </p:nvPr>
        </p:nvSpPr>
        <p:spPr>
          <a:xfrm>
            <a:off x="16410273" y="2735061"/>
            <a:ext cx="2922364" cy="1939763"/>
          </a:xfrm>
          <a:prstGeom prst="rect">
            <a:avLst/>
          </a:prstGeom>
          <a:solidFill>
            <a:srgbClr val="E5E5E5"/>
          </a:solidFill>
        </p:spPr>
        <p:txBody>
          <a:bodyPr/>
          <a:lstStyle>
            <a:lvl1pPr>
              <a:defRPr/>
            </a:lvl1pPr>
          </a:lstStyle>
          <a:p>
            <a:endParaRPr dirty="0"/>
          </a:p>
        </p:txBody>
      </p:sp>
      <p:sp>
        <p:nvSpPr>
          <p:cNvPr id="94" name="Segnaposto testo 93"/>
          <p:cNvSpPr>
            <a:spLocks noGrp="1"/>
          </p:cNvSpPr>
          <p:nvPr>
            <p:ph type="body" sz="quarter" idx="20"/>
          </p:nvPr>
        </p:nvSpPr>
        <p:spPr>
          <a:xfrm>
            <a:off x="788185" y="5365376"/>
            <a:ext cx="2973387" cy="469264"/>
          </a:xfrm>
          <a:solidFill>
            <a:srgbClr val="42444A"/>
          </a:solidFill>
        </p:spPr>
        <p:txBody>
          <a:bodyPr anchor="ctr"/>
          <a:lstStyle>
            <a:lvl1pPr algn="ctr">
              <a:defRPr sz="1700" spc="300">
                <a:solidFill>
                  <a:srgbClr val="CCCCCC"/>
                </a:solidFill>
              </a:defRPr>
            </a:lvl1pPr>
            <a:lvl2pPr>
              <a:defRPr>
                <a:solidFill>
                  <a:srgbClr val="CCCCCC"/>
                </a:solidFill>
              </a:defRPr>
            </a:lvl2pPr>
            <a:lvl3pPr>
              <a:defRPr>
                <a:solidFill>
                  <a:srgbClr val="CCCCCC"/>
                </a:solidFill>
              </a:defRPr>
            </a:lvl3pPr>
            <a:lvl4pPr>
              <a:defRPr>
                <a:solidFill>
                  <a:srgbClr val="CCCCCC"/>
                </a:solidFill>
              </a:defRPr>
            </a:lvl4pPr>
            <a:lvl5pPr>
              <a:defRPr>
                <a:solidFill>
                  <a:srgbClr val="CCCCCC"/>
                </a:solidFill>
              </a:defRPr>
            </a:lvl5pPr>
          </a:lstStyle>
          <a:p>
            <a:pPr lvl="0"/>
            <a:r>
              <a:rPr lang="sl-SI"/>
              <a:t>Kliknite za urejanje slogov besedila matrice</a:t>
            </a:r>
          </a:p>
        </p:txBody>
      </p:sp>
      <p:sp>
        <p:nvSpPr>
          <p:cNvPr id="95" name="Segnaposto testo 93"/>
          <p:cNvSpPr>
            <a:spLocks noGrp="1"/>
          </p:cNvSpPr>
          <p:nvPr>
            <p:ph type="body" sz="quarter" idx="21"/>
          </p:nvPr>
        </p:nvSpPr>
        <p:spPr>
          <a:xfrm>
            <a:off x="3881009" y="5365376"/>
            <a:ext cx="2973387" cy="470648"/>
          </a:xfrm>
          <a:solidFill>
            <a:srgbClr val="42444A"/>
          </a:solidFill>
        </p:spPr>
        <p:txBody>
          <a:bodyPr anchor="ctr"/>
          <a:lstStyle>
            <a:lvl1pPr algn="ctr">
              <a:defRPr sz="1700" b="0" i="0" spc="0">
                <a:solidFill>
                  <a:srgbClr val="CCCCCC"/>
                </a:solidFill>
                <a:latin typeface="Helvetica" pitchFamily="2" charset="0"/>
              </a:defRPr>
            </a:lvl1pPr>
            <a:lvl2pPr>
              <a:defRPr>
                <a:solidFill>
                  <a:srgbClr val="CCCCCC"/>
                </a:solidFill>
              </a:defRPr>
            </a:lvl2pPr>
            <a:lvl3pPr>
              <a:defRPr>
                <a:solidFill>
                  <a:srgbClr val="CCCCCC"/>
                </a:solidFill>
              </a:defRPr>
            </a:lvl3pPr>
            <a:lvl4pPr>
              <a:defRPr>
                <a:solidFill>
                  <a:srgbClr val="CCCCCC"/>
                </a:solidFill>
              </a:defRPr>
            </a:lvl4pPr>
            <a:lvl5pPr>
              <a:defRPr>
                <a:solidFill>
                  <a:srgbClr val="CCCCCC"/>
                </a:solidFill>
              </a:defRPr>
            </a:lvl5pPr>
          </a:lstStyle>
          <a:p>
            <a:pPr lvl="0"/>
            <a:r>
              <a:rPr lang="sl-SI"/>
              <a:t>Kliknite za urejanje slogov besedila matrice</a:t>
            </a:r>
          </a:p>
        </p:txBody>
      </p:sp>
      <p:sp>
        <p:nvSpPr>
          <p:cNvPr id="96" name="Segnaposto testo 93"/>
          <p:cNvSpPr>
            <a:spLocks noGrp="1"/>
          </p:cNvSpPr>
          <p:nvPr>
            <p:ph type="body" sz="quarter" idx="22"/>
          </p:nvPr>
        </p:nvSpPr>
        <p:spPr>
          <a:xfrm>
            <a:off x="7014174" y="5365376"/>
            <a:ext cx="2973387" cy="470647"/>
          </a:xfrm>
          <a:solidFill>
            <a:srgbClr val="42444A"/>
          </a:solidFill>
        </p:spPr>
        <p:txBody>
          <a:bodyPr anchor="ctr"/>
          <a:lstStyle>
            <a:lvl1pPr algn="ctr">
              <a:defRPr sz="1700" b="0" i="0" spc="0">
                <a:solidFill>
                  <a:srgbClr val="CCCCCC"/>
                </a:solidFill>
                <a:latin typeface="Helvetica" pitchFamily="2" charset="0"/>
              </a:defRPr>
            </a:lvl1pPr>
            <a:lvl2pPr>
              <a:defRPr>
                <a:solidFill>
                  <a:srgbClr val="CCCCCC"/>
                </a:solidFill>
              </a:defRPr>
            </a:lvl2pPr>
            <a:lvl3pPr>
              <a:defRPr>
                <a:solidFill>
                  <a:srgbClr val="CCCCCC"/>
                </a:solidFill>
              </a:defRPr>
            </a:lvl3pPr>
            <a:lvl4pPr>
              <a:defRPr>
                <a:solidFill>
                  <a:srgbClr val="CCCCCC"/>
                </a:solidFill>
              </a:defRPr>
            </a:lvl4pPr>
            <a:lvl5pPr>
              <a:defRPr>
                <a:solidFill>
                  <a:srgbClr val="CCCCCC"/>
                </a:solidFill>
              </a:defRPr>
            </a:lvl5pPr>
          </a:lstStyle>
          <a:p>
            <a:pPr lvl="0"/>
            <a:r>
              <a:rPr lang="sl-SI"/>
              <a:t>Kliknite za urejanje slogov besedila matrice</a:t>
            </a:r>
          </a:p>
        </p:txBody>
      </p:sp>
      <p:sp>
        <p:nvSpPr>
          <p:cNvPr id="97" name="Segnaposto testo 93"/>
          <p:cNvSpPr>
            <a:spLocks noGrp="1"/>
          </p:cNvSpPr>
          <p:nvPr>
            <p:ph type="body" sz="quarter" idx="23"/>
          </p:nvPr>
        </p:nvSpPr>
        <p:spPr>
          <a:xfrm>
            <a:off x="10174232" y="5365376"/>
            <a:ext cx="2973387" cy="470647"/>
          </a:xfrm>
          <a:solidFill>
            <a:srgbClr val="42444A"/>
          </a:solidFill>
        </p:spPr>
        <p:txBody>
          <a:bodyPr anchor="ctr"/>
          <a:lstStyle>
            <a:lvl1pPr algn="ctr">
              <a:defRPr sz="1700" b="0" i="0" spc="0">
                <a:solidFill>
                  <a:srgbClr val="CCCCCC"/>
                </a:solidFill>
                <a:latin typeface="Helvetica" pitchFamily="2" charset="0"/>
              </a:defRPr>
            </a:lvl1pPr>
            <a:lvl2pPr>
              <a:defRPr>
                <a:solidFill>
                  <a:srgbClr val="CCCCCC"/>
                </a:solidFill>
              </a:defRPr>
            </a:lvl2pPr>
            <a:lvl3pPr>
              <a:defRPr>
                <a:solidFill>
                  <a:srgbClr val="CCCCCC"/>
                </a:solidFill>
              </a:defRPr>
            </a:lvl3pPr>
            <a:lvl4pPr>
              <a:defRPr>
                <a:solidFill>
                  <a:srgbClr val="CCCCCC"/>
                </a:solidFill>
              </a:defRPr>
            </a:lvl4pPr>
            <a:lvl5pPr>
              <a:defRPr>
                <a:solidFill>
                  <a:srgbClr val="CCCCCC"/>
                </a:solidFill>
              </a:defRPr>
            </a:lvl5pPr>
          </a:lstStyle>
          <a:p>
            <a:pPr lvl="0"/>
            <a:r>
              <a:rPr lang="sl-SI"/>
              <a:t>Kliknite za urejanje slogov besedila matrice</a:t>
            </a:r>
          </a:p>
        </p:txBody>
      </p:sp>
      <p:sp>
        <p:nvSpPr>
          <p:cNvPr id="98" name="Segnaposto testo 93"/>
          <p:cNvSpPr>
            <a:spLocks noGrp="1"/>
          </p:cNvSpPr>
          <p:nvPr>
            <p:ph type="body" sz="quarter" idx="24"/>
          </p:nvPr>
        </p:nvSpPr>
        <p:spPr>
          <a:xfrm>
            <a:off x="13253609" y="5365376"/>
            <a:ext cx="2973387" cy="470647"/>
          </a:xfrm>
          <a:solidFill>
            <a:srgbClr val="42444A"/>
          </a:solidFill>
        </p:spPr>
        <p:txBody>
          <a:bodyPr anchor="ctr"/>
          <a:lstStyle>
            <a:lvl1pPr algn="ctr">
              <a:defRPr sz="1700" b="0" i="0" spc="0">
                <a:solidFill>
                  <a:srgbClr val="CCCCCC"/>
                </a:solidFill>
                <a:latin typeface="Helvetica" pitchFamily="2" charset="0"/>
              </a:defRPr>
            </a:lvl1pPr>
            <a:lvl2pPr>
              <a:defRPr>
                <a:solidFill>
                  <a:srgbClr val="CCCCCC"/>
                </a:solidFill>
              </a:defRPr>
            </a:lvl2pPr>
            <a:lvl3pPr>
              <a:defRPr>
                <a:solidFill>
                  <a:srgbClr val="CCCCCC"/>
                </a:solidFill>
              </a:defRPr>
            </a:lvl3pPr>
            <a:lvl4pPr>
              <a:defRPr>
                <a:solidFill>
                  <a:srgbClr val="CCCCCC"/>
                </a:solidFill>
              </a:defRPr>
            </a:lvl4pPr>
            <a:lvl5pPr>
              <a:defRPr>
                <a:solidFill>
                  <a:srgbClr val="CCCCCC"/>
                </a:solidFill>
              </a:defRPr>
            </a:lvl5pPr>
          </a:lstStyle>
          <a:p>
            <a:pPr lvl="0"/>
            <a:r>
              <a:rPr lang="sl-SI"/>
              <a:t>Kliknite za urejanje slogov besedila matrice</a:t>
            </a:r>
          </a:p>
        </p:txBody>
      </p:sp>
      <p:sp>
        <p:nvSpPr>
          <p:cNvPr id="99" name="Segnaposto testo 93"/>
          <p:cNvSpPr>
            <a:spLocks noGrp="1"/>
          </p:cNvSpPr>
          <p:nvPr>
            <p:ph type="body" sz="quarter" idx="25"/>
          </p:nvPr>
        </p:nvSpPr>
        <p:spPr>
          <a:xfrm>
            <a:off x="16346433" y="5365376"/>
            <a:ext cx="2973387" cy="470647"/>
          </a:xfrm>
          <a:solidFill>
            <a:srgbClr val="42444A"/>
          </a:solidFill>
        </p:spPr>
        <p:txBody>
          <a:bodyPr anchor="ctr"/>
          <a:lstStyle>
            <a:lvl1pPr algn="ctr">
              <a:defRPr sz="1700" b="0" i="0" spc="0">
                <a:solidFill>
                  <a:srgbClr val="CCCCCC"/>
                </a:solidFill>
                <a:latin typeface="Helvetica" pitchFamily="2" charset="0"/>
              </a:defRPr>
            </a:lvl1pPr>
            <a:lvl2pPr>
              <a:defRPr>
                <a:solidFill>
                  <a:srgbClr val="CCCCCC"/>
                </a:solidFill>
              </a:defRPr>
            </a:lvl2pPr>
            <a:lvl3pPr>
              <a:defRPr>
                <a:solidFill>
                  <a:srgbClr val="CCCCCC"/>
                </a:solidFill>
              </a:defRPr>
            </a:lvl3pPr>
            <a:lvl4pPr>
              <a:defRPr>
                <a:solidFill>
                  <a:srgbClr val="CCCCCC"/>
                </a:solidFill>
              </a:defRPr>
            </a:lvl4pPr>
            <a:lvl5pPr>
              <a:defRPr>
                <a:solidFill>
                  <a:srgbClr val="CCCCCC"/>
                </a:solidFill>
              </a:defRPr>
            </a:lvl5pPr>
          </a:lstStyle>
          <a:p>
            <a:pPr lvl="0"/>
            <a:r>
              <a:rPr lang="sl-SI"/>
              <a:t>Kliknite za urejanje slogov besedila matrice</a:t>
            </a:r>
          </a:p>
        </p:txBody>
      </p:sp>
      <p:sp>
        <p:nvSpPr>
          <p:cNvPr id="115" name="Segnaposto testo 24"/>
          <p:cNvSpPr>
            <a:spLocks noGrp="1"/>
          </p:cNvSpPr>
          <p:nvPr>
            <p:ph type="body" sz="quarter" idx="26"/>
          </p:nvPr>
        </p:nvSpPr>
        <p:spPr>
          <a:xfrm>
            <a:off x="3894457" y="2132907"/>
            <a:ext cx="3033410" cy="238527"/>
          </a:xfrm>
        </p:spPr>
        <p:txBody>
          <a:bodyPr/>
          <a:lstStyle>
            <a:lvl1pPr>
              <a:defRPr sz="1550" b="1" i="0" spc="300">
                <a:latin typeface="Helvetica" pitchFamily="2" charset="0"/>
              </a:defRPr>
            </a:lvl1pPr>
            <a:lvl2pPr>
              <a:defRPr sz="1550" b="1" i="0">
                <a:latin typeface="Helvetica" pitchFamily="2" charset="0"/>
              </a:defRPr>
            </a:lvl2pPr>
            <a:lvl3pPr>
              <a:defRPr sz="1550" b="1" i="0">
                <a:latin typeface="Helvetica" pitchFamily="2" charset="0"/>
              </a:defRPr>
            </a:lvl3pPr>
            <a:lvl4pPr>
              <a:defRPr sz="1550" b="1" i="0">
                <a:latin typeface="Helvetica" pitchFamily="2" charset="0"/>
              </a:defRPr>
            </a:lvl4pPr>
            <a:lvl5pPr>
              <a:defRPr sz="1550" b="1" i="0">
                <a:latin typeface="Helvetica" pitchFamily="2" charset="0"/>
              </a:defRPr>
            </a:lvl5pPr>
          </a:lstStyle>
          <a:p>
            <a:pPr lvl="0"/>
            <a:r>
              <a:rPr lang="sl-SI"/>
              <a:t>Kliknite za urejanje slogov besedila matrice</a:t>
            </a:r>
          </a:p>
        </p:txBody>
      </p:sp>
      <p:sp>
        <p:nvSpPr>
          <p:cNvPr id="116" name="Segnaposto testo 24"/>
          <p:cNvSpPr>
            <a:spLocks noGrp="1"/>
          </p:cNvSpPr>
          <p:nvPr>
            <p:ph type="body" sz="quarter" idx="27"/>
          </p:nvPr>
        </p:nvSpPr>
        <p:spPr>
          <a:xfrm>
            <a:off x="7000728" y="2132907"/>
            <a:ext cx="3033410" cy="238527"/>
          </a:xfrm>
        </p:spPr>
        <p:txBody>
          <a:bodyPr/>
          <a:lstStyle>
            <a:lvl1pPr>
              <a:defRPr sz="1550" b="1" i="0" spc="300">
                <a:latin typeface="Helvetica" pitchFamily="2" charset="0"/>
              </a:defRPr>
            </a:lvl1pPr>
            <a:lvl2pPr>
              <a:defRPr sz="1550" b="1" i="0">
                <a:latin typeface="Helvetica" pitchFamily="2" charset="0"/>
              </a:defRPr>
            </a:lvl2pPr>
            <a:lvl3pPr>
              <a:defRPr sz="1550" b="1" i="0">
                <a:latin typeface="Helvetica" pitchFamily="2" charset="0"/>
              </a:defRPr>
            </a:lvl3pPr>
            <a:lvl4pPr>
              <a:defRPr sz="1550" b="1" i="0">
                <a:latin typeface="Helvetica" pitchFamily="2" charset="0"/>
              </a:defRPr>
            </a:lvl4pPr>
            <a:lvl5pPr>
              <a:defRPr sz="1550" b="1" i="0">
                <a:latin typeface="Helvetica" pitchFamily="2" charset="0"/>
              </a:defRPr>
            </a:lvl5pPr>
          </a:lstStyle>
          <a:p>
            <a:pPr lvl="0"/>
            <a:r>
              <a:rPr lang="sl-SI"/>
              <a:t>Kliknite za urejanje slogov besedila matrice</a:t>
            </a:r>
          </a:p>
        </p:txBody>
      </p:sp>
      <p:sp>
        <p:nvSpPr>
          <p:cNvPr id="117" name="Segnaposto testo 24"/>
          <p:cNvSpPr>
            <a:spLocks noGrp="1"/>
          </p:cNvSpPr>
          <p:nvPr>
            <p:ph type="body" sz="quarter" idx="28"/>
          </p:nvPr>
        </p:nvSpPr>
        <p:spPr>
          <a:xfrm>
            <a:off x="10106999" y="2132907"/>
            <a:ext cx="3033410" cy="238527"/>
          </a:xfrm>
        </p:spPr>
        <p:txBody>
          <a:bodyPr/>
          <a:lstStyle>
            <a:lvl1pPr>
              <a:defRPr sz="1550" b="1" i="0" spc="300">
                <a:latin typeface="Helvetica" pitchFamily="2" charset="0"/>
              </a:defRPr>
            </a:lvl1pPr>
            <a:lvl2pPr>
              <a:defRPr sz="1550" b="1" i="0">
                <a:latin typeface="Helvetica" pitchFamily="2" charset="0"/>
              </a:defRPr>
            </a:lvl2pPr>
            <a:lvl3pPr>
              <a:defRPr sz="1550" b="1" i="0">
                <a:latin typeface="Helvetica" pitchFamily="2" charset="0"/>
              </a:defRPr>
            </a:lvl3pPr>
            <a:lvl4pPr>
              <a:defRPr sz="1550" b="1" i="0">
                <a:latin typeface="Helvetica" pitchFamily="2" charset="0"/>
              </a:defRPr>
            </a:lvl4pPr>
            <a:lvl5pPr>
              <a:defRPr sz="1550" b="1" i="0">
                <a:latin typeface="Helvetica" pitchFamily="2" charset="0"/>
              </a:defRPr>
            </a:lvl5pPr>
          </a:lstStyle>
          <a:p>
            <a:pPr lvl="0"/>
            <a:r>
              <a:rPr lang="sl-SI"/>
              <a:t>Kliknite za urejanje slogov besedila matrice</a:t>
            </a:r>
          </a:p>
        </p:txBody>
      </p:sp>
      <p:sp>
        <p:nvSpPr>
          <p:cNvPr id="118" name="Segnaposto testo 24"/>
          <p:cNvSpPr>
            <a:spLocks noGrp="1"/>
          </p:cNvSpPr>
          <p:nvPr>
            <p:ph type="body" sz="quarter" idx="29"/>
          </p:nvPr>
        </p:nvSpPr>
        <p:spPr>
          <a:xfrm>
            <a:off x="13213270" y="2132907"/>
            <a:ext cx="3033410" cy="238527"/>
          </a:xfrm>
        </p:spPr>
        <p:txBody>
          <a:bodyPr/>
          <a:lstStyle>
            <a:lvl1pPr>
              <a:defRPr sz="1550" b="1" i="0" spc="300">
                <a:latin typeface="Helvetica" pitchFamily="2" charset="0"/>
              </a:defRPr>
            </a:lvl1pPr>
            <a:lvl2pPr>
              <a:defRPr sz="1550" b="1" i="0">
                <a:latin typeface="Helvetica" pitchFamily="2" charset="0"/>
              </a:defRPr>
            </a:lvl2pPr>
            <a:lvl3pPr>
              <a:defRPr sz="1550" b="1" i="0">
                <a:latin typeface="Helvetica" pitchFamily="2" charset="0"/>
              </a:defRPr>
            </a:lvl3pPr>
            <a:lvl4pPr>
              <a:defRPr sz="1550" b="1" i="0">
                <a:latin typeface="Helvetica" pitchFamily="2" charset="0"/>
              </a:defRPr>
            </a:lvl4pPr>
            <a:lvl5pPr>
              <a:defRPr sz="1550" b="1" i="0">
                <a:latin typeface="Helvetica" pitchFamily="2" charset="0"/>
              </a:defRPr>
            </a:lvl5pPr>
          </a:lstStyle>
          <a:p>
            <a:pPr lvl="0"/>
            <a:r>
              <a:rPr lang="sl-SI"/>
              <a:t>Kliknite za urejanje slogov besedila matrice</a:t>
            </a:r>
          </a:p>
        </p:txBody>
      </p:sp>
      <p:sp>
        <p:nvSpPr>
          <p:cNvPr id="119" name="Segnaposto testo 24"/>
          <p:cNvSpPr>
            <a:spLocks noGrp="1"/>
          </p:cNvSpPr>
          <p:nvPr>
            <p:ph type="body" sz="quarter" idx="30"/>
          </p:nvPr>
        </p:nvSpPr>
        <p:spPr>
          <a:xfrm>
            <a:off x="16319540" y="2132907"/>
            <a:ext cx="3033410" cy="238527"/>
          </a:xfrm>
        </p:spPr>
        <p:txBody>
          <a:bodyPr/>
          <a:lstStyle>
            <a:lvl1pPr>
              <a:defRPr sz="1550" b="1" i="0" spc="300">
                <a:latin typeface="Helvetica" pitchFamily="2" charset="0"/>
              </a:defRPr>
            </a:lvl1pPr>
            <a:lvl2pPr>
              <a:defRPr sz="1550" b="1" i="0">
                <a:latin typeface="Helvetica" pitchFamily="2" charset="0"/>
              </a:defRPr>
            </a:lvl2pPr>
            <a:lvl3pPr>
              <a:defRPr sz="1550" b="1" i="0">
                <a:latin typeface="Helvetica" pitchFamily="2" charset="0"/>
              </a:defRPr>
            </a:lvl3pPr>
            <a:lvl4pPr>
              <a:defRPr sz="1550" b="1" i="0">
                <a:latin typeface="Helvetica" pitchFamily="2" charset="0"/>
              </a:defRPr>
            </a:lvl4pPr>
            <a:lvl5pPr>
              <a:defRPr sz="1550" b="1" i="0">
                <a:latin typeface="Helvetica" pitchFamily="2" charset="0"/>
              </a:defRPr>
            </a:lvl5pPr>
          </a:lstStyle>
          <a:p>
            <a:pPr lvl="0"/>
            <a:r>
              <a:rPr lang="sl-SI"/>
              <a:t>Kliknite za urejanje slogov besedila matrice</a:t>
            </a:r>
          </a:p>
        </p:txBody>
      </p:sp>
      <p:sp>
        <p:nvSpPr>
          <p:cNvPr id="120" name="Segnaposto testo 24"/>
          <p:cNvSpPr>
            <a:spLocks noGrp="1"/>
          </p:cNvSpPr>
          <p:nvPr>
            <p:ph type="body" sz="quarter" idx="31"/>
          </p:nvPr>
        </p:nvSpPr>
        <p:spPr>
          <a:xfrm>
            <a:off x="788186" y="8399235"/>
            <a:ext cx="2786804" cy="238527"/>
          </a:xfrm>
        </p:spPr>
        <p:txBody>
          <a:bodyPr/>
          <a:lstStyle>
            <a:lvl1pPr>
              <a:defRPr sz="1550" b="0" i="0" spc="0">
                <a:latin typeface="Helvetica" pitchFamily="2" charset="0"/>
              </a:defRPr>
            </a:lvl1pPr>
            <a:lvl2pPr>
              <a:defRPr sz="1550" b="1" i="0">
                <a:latin typeface="Helvetica" pitchFamily="2" charset="0"/>
              </a:defRPr>
            </a:lvl2pPr>
            <a:lvl3pPr>
              <a:defRPr sz="1550" b="1" i="0">
                <a:latin typeface="Helvetica" pitchFamily="2" charset="0"/>
              </a:defRPr>
            </a:lvl3pPr>
            <a:lvl4pPr>
              <a:defRPr sz="1550" b="1" i="0">
                <a:latin typeface="Helvetica" pitchFamily="2" charset="0"/>
              </a:defRPr>
            </a:lvl4pPr>
            <a:lvl5pPr>
              <a:defRPr sz="1550" b="1" i="0">
                <a:latin typeface="Helvetica" pitchFamily="2" charset="0"/>
              </a:defRPr>
            </a:lvl5pPr>
          </a:lstStyle>
          <a:p>
            <a:pPr lvl="0"/>
            <a:endParaRPr lang="it-IT" dirty="0"/>
          </a:p>
        </p:txBody>
      </p:sp>
      <p:sp>
        <p:nvSpPr>
          <p:cNvPr id="121" name="Segnaposto testo 24"/>
          <p:cNvSpPr>
            <a:spLocks noGrp="1"/>
          </p:cNvSpPr>
          <p:nvPr>
            <p:ph type="body" sz="quarter" idx="32"/>
          </p:nvPr>
        </p:nvSpPr>
        <p:spPr>
          <a:xfrm>
            <a:off x="3932718" y="8399235"/>
            <a:ext cx="2786804" cy="238527"/>
          </a:xfrm>
        </p:spPr>
        <p:txBody>
          <a:bodyPr/>
          <a:lstStyle>
            <a:lvl1pPr>
              <a:defRPr sz="1550" b="0" i="0" spc="0">
                <a:latin typeface="Helvetica" pitchFamily="2" charset="0"/>
              </a:defRPr>
            </a:lvl1pPr>
            <a:lvl2pPr>
              <a:defRPr sz="1550" b="1" i="0">
                <a:latin typeface="Helvetica" pitchFamily="2" charset="0"/>
              </a:defRPr>
            </a:lvl2pPr>
            <a:lvl3pPr>
              <a:defRPr sz="1550" b="1" i="0">
                <a:latin typeface="Helvetica" pitchFamily="2" charset="0"/>
              </a:defRPr>
            </a:lvl3pPr>
            <a:lvl4pPr>
              <a:defRPr sz="1550" b="1" i="0">
                <a:latin typeface="Helvetica" pitchFamily="2" charset="0"/>
              </a:defRPr>
            </a:lvl4pPr>
            <a:lvl5pPr>
              <a:defRPr sz="1550" b="1" i="0">
                <a:latin typeface="Helvetica" pitchFamily="2" charset="0"/>
              </a:defRPr>
            </a:lvl5pPr>
          </a:lstStyle>
          <a:p>
            <a:pPr lvl="0"/>
            <a:endParaRPr lang="it-IT" dirty="0"/>
          </a:p>
        </p:txBody>
      </p:sp>
      <p:sp>
        <p:nvSpPr>
          <p:cNvPr id="122" name="Segnaposto testo 24"/>
          <p:cNvSpPr>
            <a:spLocks noGrp="1"/>
          </p:cNvSpPr>
          <p:nvPr>
            <p:ph type="body" sz="quarter" idx="33"/>
          </p:nvPr>
        </p:nvSpPr>
        <p:spPr>
          <a:xfrm>
            <a:off x="7077250" y="8399235"/>
            <a:ext cx="2786804" cy="238527"/>
          </a:xfrm>
        </p:spPr>
        <p:txBody>
          <a:bodyPr/>
          <a:lstStyle>
            <a:lvl1pPr>
              <a:defRPr sz="1550" b="0" i="0" spc="0">
                <a:latin typeface="Helvetica" pitchFamily="2" charset="0"/>
              </a:defRPr>
            </a:lvl1pPr>
            <a:lvl2pPr>
              <a:defRPr sz="1550" b="1" i="0">
                <a:latin typeface="Helvetica" pitchFamily="2" charset="0"/>
              </a:defRPr>
            </a:lvl2pPr>
            <a:lvl3pPr>
              <a:defRPr sz="1550" b="1" i="0">
                <a:latin typeface="Helvetica" pitchFamily="2" charset="0"/>
              </a:defRPr>
            </a:lvl3pPr>
            <a:lvl4pPr>
              <a:defRPr sz="1550" b="1" i="0">
                <a:latin typeface="Helvetica" pitchFamily="2" charset="0"/>
              </a:defRPr>
            </a:lvl4pPr>
            <a:lvl5pPr>
              <a:defRPr sz="1550" b="1" i="0">
                <a:latin typeface="Helvetica" pitchFamily="2" charset="0"/>
              </a:defRPr>
            </a:lvl5pPr>
          </a:lstStyle>
          <a:p>
            <a:pPr lvl="0"/>
            <a:endParaRPr lang="it-IT" dirty="0"/>
          </a:p>
        </p:txBody>
      </p:sp>
      <p:sp>
        <p:nvSpPr>
          <p:cNvPr id="123" name="Segnaposto testo 24"/>
          <p:cNvSpPr>
            <a:spLocks noGrp="1"/>
          </p:cNvSpPr>
          <p:nvPr>
            <p:ph type="body" sz="quarter" idx="34"/>
          </p:nvPr>
        </p:nvSpPr>
        <p:spPr>
          <a:xfrm>
            <a:off x="10221782" y="8399235"/>
            <a:ext cx="2786804" cy="238527"/>
          </a:xfrm>
        </p:spPr>
        <p:txBody>
          <a:bodyPr/>
          <a:lstStyle>
            <a:lvl1pPr>
              <a:defRPr sz="1550" b="0" i="0" spc="0">
                <a:latin typeface="Helvetica" pitchFamily="2" charset="0"/>
              </a:defRPr>
            </a:lvl1pPr>
            <a:lvl2pPr>
              <a:defRPr sz="1550" b="1" i="0">
                <a:latin typeface="Helvetica" pitchFamily="2" charset="0"/>
              </a:defRPr>
            </a:lvl2pPr>
            <a:lvl3pPr>
              <a:defRPr sz="1550" b="1" i="0">
                <a:latin typeface="Helvetica" pitchFamily="2" charset="0"/>
              </a:defRPr>
            </a:lvl3pPr>
            <a:lvl4pPr>
              <a:defRPr sz="1550" b="1" i="0">
                <a:latin typeface="Helvetica" pitchFamily="2" charset="0"/>
              </a:defRPr>
            </a:lvl4pPr>
            <a:lvl5pPr>
              <a:defRPr sz="1550" b="1" i="0">
                <a:latin typeface="Helvetica" pitchFamily="2" charset="0"/>
              </a:defRPr>
            </a:lvl5pPr>
          </a:lstStyle>
          <a:p>
            <a:pPr lvl="0"/>
            <a:endParaRPr lang="it-IT" dirty="0"/>
          </a:p>
        </p:txBody>
      </p:sp>
      <p:sp>
        <p:nvSpPr>
          <p:cNvPr id="124" name="Segnaposto testo 24"/>
          <p:cNvSpPr>
            <a:spLocks noGrp="1"/>
          </p:cNvSpPr>
          <p:nvPr>
            <p:ph type="body" sz="quarter" idx="35"/>
          </p:nvPr>
        </p:nvSpPr>
        <p:spPr>
          <a:xfrm>
            <a:off x="13366314" y="8399235"/>
            <a:ext cx="2786804" cy="238527"/>
          </a:xfrm>
        </p:spPr>
        <p:txBody>
          <a:bodyPr/>
          <a:lstStyle>
            <a:lvl1pPr>
              <a:defRPr sz="1550" b="0" i="0" spc="0">
                <a:latin typeface="Helvetica" pitchFamily="2" charset="0"/>
              </a:defRPr>
            </a:lvl1pPr>
            <a:lvl2pPr>
              <a:defRPr sz="1550" b="1" i="0">
                <a:latin typeface="Helvetica" pitchFamily="2" charset="0"/>
              </a:defRPr>
            </a:lvl2pPr>
            <a:lvl3pPr>
              <a:defRPr sz="1550" b="1" i="0">
                <a:latin typeface="Helvetica" pitchFamily="2" charset="0"/>
              </a:defRPr>
            </a:lvl3pPr>
            <a:lvl4pPr>
              <a:defRPr sz="1550" b="1" i="0">
                <a:latin typeface="Helvetica" pitchFamily="2" charset="0"/>
              </a:defRPr>
            </a:lvl4pPr>
            <a:lvl5pPr>
              <a:defRPr sz="1550" b="1" i="0">
                <a:latin typeface="Helvetica" pitchFamily="2" charset="0"/>
              </a:defRPr>
            </a:lvl5pPr>
          </a:lstStyle>
          <a:p>
            <a:pPr lvl="0"/>
            <a:endParaRPr lang="it-IT" dirty="0"/>
          </a:p>
        </p:txBody>
      </p:sp>
      <p:sp>
        <p:nvSpPr>
          <p:cNvPr id="125" name="Segnaposto testo 24"/>
          <p:cNvSpPr>
            <a:spLocks noGrp="1"/>
          </p:cNvSpPr>
          <p:nvPr>
            <p:ph type="body" sz="quarter" idx="36"/>
          </p:nvPr>
        </p:nvSpPr>
        <p:spPr>
          <a:xfrm>
            <a:off x="16510846" y="8399235"/>
            <a:ext cx="2786804" cy="238527"/>
          </a:xfrm>
        </p:spPr>
        <p:txBody>
          <a:bodyPr/>
          <a:lstStyle>
            <a:lvl1pPr>
              <a:defRPr sz="1550" b="0" i="0" spc="0">
                <a:latin typeface="Helvetica" pitchFamily="2" charset="0"/>
              </a:defRPr>
            </a:lvl1pPr>
            <a:lvl2pPr>
              <a:defRPr sz="1550" b="1" i="0">
                <a:latin typeface="Helvetica" pitchFamily="2" charset="0"/>
              </a:defRPr>
            </a:lvl2pPr>
            <a:lvl3pPr>
              <a:defRPr sz="1550" b="1" i="0">
                <a:latin typeface="Helvetica" pitchFamily="2" charset="0"/>
              </a:defRPr>
            </a:lvl3pPr>
            <a:lvl4pPr>
              <a:defRPr sz="1550" b="1" i="0">
                <a:latin typeface="Helvetica" pitchFamily="2" charset="0"/>
              </a:defRPr>
            </a:lvl4pPr>
            <a:lvl5pPr>
              <a:defRPr sz="1550" b="1" i="0">
                <a:latin typeface="Helvetica" pitchFamily="2" charset="0"/>
              </a:defRPr>
            </a:lvl5pPr>
          </a:lstStyle>
          <a:p>
            <a:pPr lvl="0"/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312357856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Predmet 1" hidden="1">
            <a:extLst>
              <a:ext uri="{FF2B5EF4-FFF2-40B4-BE49-F238E27FC236}">
                <a16:creationId xmlns:a16="http://schemas.microsoft.com/office/drawing/2014/main" id="{72F84B0D-EADB-4971-E397-BF402C0D808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2" name="Predmet 1" hidden="1">
                        <a:extLst>
                          <a:ext uri="{FF2B5EF4-FFF2-40B4-BE49-F238E27FC236}">
                            <a16:creationId xmlns:a16="http://schemas.microsoft.com/office/drawing/2014/main" id="{72F84B0D-EADB-4971-E397-BF402C0D8087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bg object 16">
            <a:extLst>
              <a:ext uri="{FF2B5EF4-FFF2-40B4-BE49-F238E27FC236}">
                <a16:creationId xmlns:a16="http://schemas.microsoft.com/office/drawing/2014/main" id="{4B5D9D12-933C-05FF-8EE7-FBA3B9449B10}"/>
              </a:ext>
            </a:extLst>
          </p:cNvPr>
          <p:cNvSpPr>
            <a:spLocks/>
          </p:cNvSpPr>
          <p:nvPr userDrawn="1"/>
        </p:nvSpPr>
        <p:spPr bwMode="auto">
          <a:xfrm>
            <a:off x="0" y="0"/>
            <a:ext cx="20104100" cy="1546225"/>
          </a:xfrm>
          <a:custGeom>
            <a:avLst/>
            <a:gdLst>
              <a:gd name="T0" fmla="*/ 0 w 20104100"/>
              <a:gd name="T1" fmla="*/ 1530592 h 1530985"/>
              <a:gd name="T2" fmla="*/ 20104099 w 20104100"/>
              <a:gd name="T3" fmla="*/ 1530592 h 1530985"/>
              <a:gd name="T4" fmla="*/ 20104099 w 20104100"/>
              <a:gd name="T5" fmla="*/ 0 h 1530985"/>
              <a:gd name="T6" fmla="*/ 0 w 20104100"/>
              <a:gd name="T7" fmla="*/ 0 h 1530985"/>
              <a:gd name="T8" fmla="*/ 0 w 20104100"/>
              <a:gd name="T9" fmla="*/ 1530592 h 15309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0104100" h="1530985">
                <a:moveTo>
                  <a:pt x="0" y="1530592"/>
                </a:moveTo>
                <a:lnTo>
                  <a:pt x="20104099" y="1530592"/>
                </a:lnTo>
                <a:lnTo>
                  <a:pt x="20104099" y="0"/>
                </a:lnTo>
                <a:lnTo>
                  <a:pt x="0" y="0"/>
                </a:lnTo>
                <a:lnTo>
                  <a:pt x="0" y="1530592"/>
                </a:lnTo>
                <a:close/>
              </a:path>
            </a:pathLst>
          </a:custGeom>
          <a:solidFill>
            <a:srgbClr val="6F778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en-AU"/>
          </a:p>
        </p:txBody>
      </p:sp>
      <p:sp>
        <p:nvSpPr>
          <p:cNvPr id="5" name="Holder 2">
            <a:extLst>
              <a:ext uri="{FF2B5EF4-FFF2-40B4-BE49-F238E27FC236}">
                <a16:creationId xmlns:a16="http://schemas.microsoft.com/office/drawing/2014/main" id="{6EBBB314-E1F2-807E-3E76-CACA94793F1C}"/>
              </a:ext>
            </a:extLst>
          </p:cNvPr>
          <p:cNvSpPr txBox="1">
            <a:spLocks/>
          </p:cNvSpPr>
          <p:nvPr userDrawn="1"/>
        </p:nvSpPr>
        <p:spPr>
          <a:xfrm>
            <a:off x="3346450" y="606425"/>
            <a:ext cx="10163175" cy="400050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>
            <a:lvl1pPr>
              <a:defRPr sz="2600" b="1" i="0">
                <a:solidFill>
                  <a:schemeClr val="bg1"/>
                </a:solidFill>
                <a:latin typeface="Helvetica" pitchFamily="2" charset="0"/>
                <a:ea typeface="+mj-ea"/>
                <a:cs typeface="Helvetica Neue"/>
              </a:defRPr>
            </a:lvl1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it-IT" b="0" kern="0" spc="300" dirty="0">
                <a:latin typeface="Helvetica Light" panose="020B0403020202020204" pitchFamily="34" charset="0"/>
              </a:rPr>
              <a:t>COLLECTION</a:t>
            </a:r>
          </a:p>
        </p:txBody>
      </p:sp>
      <p:sp>
        <p:nvSpPr>
          <p:cNvPr id="6" name="Holder 2">
            <a:extLst>
              <a:ext uri="{FF2B5EF4-FFF2-40B4-BE49-F238E27FC236}">
                <a16:creationId xmlns:a16="http://schemas.microsoft.com/office/drawing/2014/main" id="{E315F972-CF4F-8319-F440-BD8549F0DCD6}"/>
              </a:ext>
            </a:extLst>
          </p:cNvPr>
          <p:cNvSpPr txBox="1">
            <a:spLocks/>
          </p:cNvSpPr>
          <p:nvPr userDrawn="1"/>
        </p:nvSpPr>
        <p:spPr>
          <a:xfrm>
            <a:off x="679450" y="606425"/>
            <a:ext cx="2667000" cy="400050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>
            <a:lvl1pPr>
              <a:defRPr sz="2600" b="1" i="0">
                <a:solidFill>
                  <a:schemeClr val="bg1"/>
                </a:solidFill>
                <a:latin typeface="Helvetica" pitchFamily="2" charset="0"/>
                <a:ea typeface="+mj-ea"/>
                <a:cs typeface="Helvetica Neue"/>
              </a:defRPr>
            </a:lvl1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it-IT" spc="600" dirty="0"/>
              <a:t>CARAVANS</a:t>
            </a:r>
            <a:endParaRPr lang="it-IT" kern="0" spc="600" dirty="0"/>
          </a:p>
        </p:txBody>
      </p:sp>
      <p:sp>
        <p:nvSpPr>
          <p:cNvPr id="7" name="object 2">
            <a:extLst>
              <a:ext uri="{FF2B5EF4-FFF2-40B4-BE49-F238E27FC236}">
                <a16:creationId xmlns:a16="http://schemas.microsoft.com/office/drawing/2014/main" id="{1A632CA2-F072-5865-173B-D653D441E897}"/>
              </a:ext>
            </a:extLst>
          </p:cNvPr>
          <p:cNvSpPr>
            <a:spLocks/>
          </p:cNvSpPr>
          <p:nvPr userDrawn="1"/>
        </p:nvSpPr>
        <p:spPr bwMode="auto">
          <a:xfrm>
            <a:off x="16451263" y="663575"/>
            <a:ext cx="3090862" cy="254000"/>
          </a:xfrm>
          <a:custGeom>
            <a:avLst/>
            <a:gdLst>
              <a:gd name="T0" fmla="*/ 343852 w 3090544"/>
              <a:gd name="T1" fmla="*/ 175133 h 253365"/>
              <a:gd name="T2" fmla="*/ 293979 w 3090544"/>
              <a:gd name="T3" fmla="*/ 165417 h 253365"/>
              <a:gd name="T4" fmla="*/ 266420 w 3090544"/>
              <a:gd name="T5" fmla="*/ 207365 h 253365"/>
              <a:gd name="T6" fmla="*/ 293979 w 3090544"/>
              <a:gd name="T7" fmla="*/ 249301 h 253365"/>
              <a:gd name="T8" fmla="*/ 343852 w 3090544"/>
              <a:gd name="T9" fmla="*/ 239534 h 253365"/>
              <a:gd name="T10" fmla="*/ 622452 w 3090544"/>
              <a:gd name="T11" fmla="*/ 246989 h 253365"/>
              <a:gd name="T12" fmla="*/ 413931 w 3090544"/>
              <a:gd name="T13" fmla="*/ 7061 h 253365"/>
              <a:gd name="T14" fmla="*/ 75628 w 3090544"/>
              <a:gd name="T15" fmla="*/ 9728 h 253365"/>
              <a:gd name="T16" fmla="*/ 0 w 3090544"/>
              <a:gd name="T17" fmla="*/ 123494 h 253365"/>
              <a:gd name="T18" fmla="*/ 75628 w 3090544"/>
              <a:gd name="T19" fmla="*/ 237286 h 253365"/>
              <a:gd name="T20" fmla="*/ 238823 w 3090544"/>
              <a:gd name="T21" fmla="*/ 203530 h 253365"/>
              <a:gd name="T22" fmla="*/ 164350 w 3090544"/>
              <a:gd name="T23" fmla="*/ 153962 h 253365"/>
              <a:gd name="T24" fmla="*/ 181749 w 3090544"/>
              <a:gd name="T25" fmla="*/ 65608 h 253365"/>
              <a:gd name="T26" fmla="*/ 258483 w 3090544"/>
              <a:gd name="T27" fmla="*/ 44411 h 253365"/>
              <a:gd name="T28" fmla="*/ 303085 w 3090544"/>
              <a:gd name="T29" fmla="*/ 74142 h 253365"/>
              <a:gd name="T30" fmla="*/ 1268044 w 3090544"/>
              <a:gd name="T31" fmla="*/ 248894 h 253365"/>
              <a:gd name="T32" fmla="*/ 1146378 w 3090544"/>
              <a:gd name="T33" fmla="*/ 92595 h 253365"/>
              <a:gd name="T34" fmla="*/ 1023289 w 3090544"/>
              <a:gd name="T35" fmla="*/ 174459 h 253365"/>
              <a:gd name="T36" fmla="*/ 1023289 w 3090544"/>
              <a:gd name="T37" fmla="*/ 174459 h 253365"/>
              <a:gd name="T38" fmla="*/ 906818 w 3090544"/>
              <a:gd name="T39" fmla="*/ 52743 h 253365"/>
              <a:gd name="T40" fmla="*/ 864831 w 3090544"/>
              <a:gd name="T41" fmla="*/ 218249 h 253365"/>
              <a:gd name="T42" fmla="*/ 1268044 w 3090544"/>
              <a:gd name="T43" fmla="*/ 248894 h 253365"/>
              <a:gd name="T44" fmla="*/ 1706829 w 3090544"/>
              <a:gd name="T45" fmla="*/ 43764 h 253365"/>
              <a:gd name="T46" fmla="*/ 1585315 w 3090544"/>
              <a:gd name="T47" fmla="*/ 2298 h 253365"/>
              <a:gd name="T48" fmla="*/ 1564487 w 3090544"/>
              <a:gd name="T49" fmla="*/ 183870 h 253365"/>
              <a:gd name="T50" fmla="*/ 1458353 w 3090544"/>
              <a:gd name="T51" fmla="*/ 205105 h 253365"/>
              <a:gd name="T52" fmla="*/ 1538414 w 3090544"/>
              <a:gd name="T53" fmla="*/ 49377 h 253365"/>
              <a:gd name="T54" fmla="*/ 1585315 w 3090544"/>
              <a:gd name="T55" fmla="*/ 124942 h 253365"/>
              <a:gd name="T56" fmla="*/ 1301597 w 3090544"/>
              <a:gd name="T57" fmla="*/ 0 h 253365"/>
              <a:gd name="T58" fmla="*/ 1604314 w 3090544"/>
              <a:gd name="T59" fmla="*/ 245668 h 253365"/>
              <a:gd name="T60" fmla="*/ 1735251 w 3090544"/>
              <a:gd name="T61" fmla="*/ 164058 h 253365"/>
              <a:gd name="T62" fmla="*/ 2206523 w 3090544"/>
              <a:gd name="T63" fmla="*/ 157530 h 253365"/>
              <a:gd name="T64" fmla="*/ 2261095 w 3090544"/>
              <a:gd name="T65" fmla="*/ 106921 h 253365"/>
              <a:gd name="T66" fmla="*/ 2252942 w 3090544"/>
              <a:gd name="T67" fmla="*/ 43802 h 253365"/>
              <a:gd name="T68" fmla="*/ 2154047 w 3090544"/>
              <a:gd name="T69" fmla="*/ 0 h 253365"/>
              <a:gd name="T70" fmla="*/ 1977072 w 3090544"/>
              <a:gd name="T71" fmla="*/ 248894 h 253365"/>
              <a:gd name="T72" fmla="*/ 2073948 w 3090544"/>
              <a:gd name="T73" fmla="*/ 47777 h 253365"/>
              <a:gd name="T74" fmla="*/ 2104517 w 3090544"/>
              <a:gd name="T75" fmla="*/ 89331 h 253365"/>
              <a:gd name="T76" fmla="*/ 2063915 w 3090544"/>
              <a:gd name="T77" fmla="*/ 136613 h 253365"/>
              <a:gd name="T78" fmla="*/ 2081834 w 3090544"/>
              <a:gd name="T79" fmla="*/ 248894 h 253365"/>
              <a:gd name="T80" fmla="*/ 2366886 w 3090544"/>
              <a:gd name="T81" fmla="*/ 12 h 253365"/>
              <a:gd name="T82" fmla="*/ 2523629 w 3090544"/>
              <a:gd name="T83" fmla="*/ 12 h 253365"/>
              <a:gd name="T84" fmla="*/ 3032163 w 3090544"/>
              <a:gd name="T85" fmla="*/ 174459 h 253365"/>
              <a:gd name="T86" fmla="*/ 2845473 w 3090544"/>
              <a:gd name="T87" fmla="*/ 0 h 253365"/>
              <a:gd name="T88" fmla="*/ 2782201 w 3090544"/>
              <a:gd name="T89" fmla="*/ 92595 h 253365"/>
              <a:gd name="T90" fmla="*/ 2688132 w 3090544"/>
              <a:gd name="T91" fmla="*/ 0 h 253365"/>
              <a:gd name="T92" fmla="*/ 2661729 w 3090544"/>
              <a:gd name="T93" fmla="*/ 248894 h 253365"/>
              <a:gd name="T94" fmla="*/ 2902902 w 3090544"/>
              <a:gd name="T95" fmla="*/ 248894 h 25336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3090544" h="253365">
                <a:moveTo>
                  <a:pt x="357009" y="207365"/>
                </a:moveTo>
                <a:lnTo>
                  <a:pt x="353491" y="189585"/>
                </a:lnTo>
                <a:lnTo>
                  <a:pt x="343852" y="175133"/>
                </a:lnTo>
                <a:lnTo>
                  <a:pt x="329476" y="165417"/>
                </a:lnTo>
                <a:lnTo>
                  <a:pt x="311746" y="161861"/>
                </a:lnTo>
                <a:lnTo>
                  <a:pt x="293979" y="165417"/>
                </a:lnTo>
                <a:lnTo>
                  <a:pt x="279577" y="175133"/>
                </a:lnTo>
                <a:lnTo>
                  <a:pt x="269938" y="189585"/>
                </a:lnTo>
                <a:lnTo>
                  <a:pt x="266420" y="207365"/>
                </a:lnTo>
                <a:lnTo>
                  <a:pt x="269938" y="225056"/>
                </a:lnTo>
                <a:lnTo>
                  <a:pt x="279577" y="239534"/>
                </a:lnTo>
                <a:lnTo>
                  <a:pt x="293979" y="249301"/>
                </a:lnTo>
                <a:lnTo>
                  <a:pt x="311746" y="252895"/>
                </a:lnTo>
                <a:lnTo>
                  <a:pt x="329476" y="249301"/>
                </a:lnTo>
                <a:lnTo>
                  <a:pt x="343852" y="239534"/>
                </a:lnTo>
                <a:lnTo>
                  <a:pt x="353491" y="225056"/>
                </a:lnTo>
                <a:lnTo>
                  <a:pt x="357009" y="207365"/>
                </a:lnTo>
                <a:close/>
              </a:path>
              <a:path w="3090544" h="253365">
                <a:moveTo>
                  <a:pt x="622452" y="246989"/>
                </a:moveTo>
                <a:lnTo>
                  <a:pt x="493928" y="81991"/>
                </a:lnTo>
                <a:lnTo>
                  <a:pt x="469874" y="51904"/>
                </a:lnTo>
                <a:lnTo>
                  <a:pt x="413931" y="7061"/>
                </a:lnTo>
                <a:lnTo>
                  <a:pt x="377621" y="12"/>
                </a:lnTo>
                <a:lnTo>
                  <a:pt x="123710" y="12"/>
                </a:lnTo>
                <a:lnTo>
                  <a:pt x="75628" y="9728"/>
                </a:lnTo>
                <a:lnTo>
                  <a:pt x="36296" y="36195"/>
                </a:lnTo>
                <a:lnTo>
                  <a:pt x="9740" y="75450"/>
                </a:lnTo>
                <a:lnTo>
                  <a:pt x="0" y="123494"/>
                </a:lnTo>
                <a:lnTo>
                  <a:pt x="9740" y="171564"/>
                </a:lnTo>
                <a:lnTo>
                  <a:pt x="36296" y="210820"/>
                </a:lnTo>
                <a:lnTo>
                  <a:pt x="75628" y="237286"/>
                </a:lnTo>
                <a:lnTo>
                  <a:pt x="123710" y="246989"/>
                </a:lnTo>
                <a:lnTo>
                  <a:pt x="238823" y="246989"/>
                </a:lnTo>
                <a:lnTo>
                  <a:pt x="238823" y="203530"/>
                </a:lnTo>
                <a:lnTo>
                  <a:pt x="207429" y="197129"/>
                </a:lnTo>
                <a:lnTo>
                  <a:pt x="181724" y="179705"/>
                </a:lnTo>
                <a:lnTo>
                  <a:pt x="164350" y="153962"/>
                </a:lnTo>
                <a:lnTo>
                  <a:pt x="157975" y="122542"/>
                </a:lnTo>
                <a:lnTo>
                  <a:pt x="164363" y="91198"/>
                </a:lnTo>
                <a:lnTo>
                  <a:pt x="181749" y="65608"/>
                </a:lnTo>
                <a:lnTo>
                  <a:pt x="207530" y="48361"/>
                </a:lnTo>
                <a:lnTo>
                  <a:pt x="239064" y="42037"/>
                </a:lnTo>
                <a:lnTo>
                  <a:pt x="258483" y="44411"/>
                </a:lnTo>
                <a:lnTo>
                  <a:pt x="275844" y="51041"/>
                </a:lnTo>
                <a:lnTo>
                  <a:pt x="290817" y="61201"/>
                </a:lnTo>
                <a:lnTo>
                  <a:pt x="303085" y="74142"/>
                </a:lnTo>
                <a:lnTo>
                  <a:pt x="436664" y="246989"/>
                </a:lnTo>
                <a:lnTo>
                  <a:pt x="622452" y="246989"/>
                </a:lnTo>
                <a:close/>
              </a:path>
              <a:path w="3090544" h="253365">
                <a:moveTo>
                  <a:pt x="1268044" y="248894"/>
                </a:moveTo>
                <a:lnTo>
                  <a:pt x="1244193" y="218249"/>
                </a:lnTo>
                <a:lnTo>
                  <a:pt x="1210106" y="174459"/>
                </a:lnTo>
                <a:lnTo>
                  <a:pt x="1146378" y="92595"/>
                </a:lnTo>
                <a:lnTo>
                  <a:pt x="1074293" y="0"/>
                </a:lnTo>
                <a:lnTo>
                  <a:pt x="1023289" y="0"/>
                </a:lnTo>
                <a:lnTo>
                  <a:pt x="1023289" y="174459"/>
                </a:lnTo>
                <a:lnTo>
                  <a:pt x="894892" y="174459"/>
                </a:lnTo>
                <a:lnTo>
                  <a:pt x="960107" y="92595"/>
                </a:lnTo>
                <a:lnTo>
                  <a:pt x="1023289" y="174459"/>
                </a:lnTo>
                <a:lnTo>
                  <a:pt x="1023289" y="0"/>
                </a:lnTo>
                <a:lnTo>
                  <a:pt x="866051" y="0"/>
                </a:lnTo>
                <a:lnTo>
                  <a:pt x="906818" y="52743"/>
                </a:lnTo>
                <a:lnTo>
                  <a:pt x="746315" y="248894"/>
                </a:lnTo>
                <a:lnTo>
                  <a:pt x="839660" y="248894"/>
                </a:lnTo>
                <a:lnTo>
                  <a:pt x="864831" y="218249"/>
                </a:lnTo>
                <a:lnTo>
                  <a:pt x="1057160" y="218249"/>
                </a:lnTo>
                <a:lnTo>
                  <a:pt x="1080795" y="248894"/>
                </a:lnTo>
                <a:lnTo>
                  <a:pt x="1268044" y="248894"/>
                </a:lnTo>
                <a:close/>
              </a:path>
              <a:path w="3090544" h="253365">
                <a:moveTo>
                  <a:pt x="1740636" y="125158"/>
                </a:moveTo>
                <a:lnTo>
                  <a:pt x="1735315" y="86347"/>
                </a:lnTo>
                <a:lnTo>
                  <a:pt x="1706829" y="43764"/>
                </a:lnTo>
                <a:lnTo>
                  <a:pt x="1654098" y="13538"/>
                </a:lnTo>
                <a:lnTo>
                  <a:pt x="1604657" y="3365"/>
                </a:lnTo>
                <a:lnTo>
                  <a:pt x="1585315" y="2298"/>
                </a:lnTo>
                <a:lnTo>
                  <a:pt x="1585315" y="124942"/>
                </a:lnTo>
                <a:lnTo>
                  <a:pt x="1580108" y="158673"/>
                </a:lnTo>
                <a:lnTo>
                  <a:pt x="1564487" y="183870"/>
                </a:lnTo>
                <a:lnTo>
                  <a:pt x="1538516" y="199644"/>
                </a:lnTo>
                <a:lnTo>
                  <a:pt x="1502232" y="205105"/>
                </a:lnTo>
                <a:lnTo>
                  <a:pt x="1458353" y="205105"/>
                </a:lnTo>
                <a:lnTo>
                  <a:pt x="1458353" y="43764"/>
                </a:lnTo>
                <a:lnTo>
                  <a:pt x="1502232" y="43764"/>
                </a:lnTo>
                <a:lnTo>
                  <a:pt x="1538414" y="49377"/>
                </a:lnTo>
                <a:lnTo>
                  <a:pt x="1564398" y="65506"/>
                </a:lnTo>
                <a:lnTo>
                  <a:pt x="1580070" y="91059"/>
                </a:lnTo>
                <a:lnTo>
                  <a:pt x="1585315" y="124942"/>
                </a:lnTo>
                <a:lnTo>
                  <a:pt x="1585315" y="2298"/>
                </a:lnTo>
                <a:lnTo>
                  <a:pt x="1543723" y="0"/>
                </a:lnTo>
                <a:lnTo>
                  <a:pt x="1301597" y="0"/>
                </a:lnTo>
                <a:lnTo>
                  <a:pt x="1301597" y="248894"/>
                </a:lnTo>
                <a:lnTo>
                  <a:pt x="1543723" y="248894"/>
                </a:lnTo>
                <a:lnTo>
                  <a:pt x="1604314" y="245668"/>
                </a:lnTo>
                <a:lnTo>
                  <a:pt x="1653654" y="235839"/>
                </a:lnTo>
                <a:lnTo>
                  <a:pt x="1691855" y="219138"/>
                </a:lnTo>
                <a:lnTo>
                  <a:pt x="1735251" y="164058"/>
                </a:lnTo>
                <a:lnTo>
                  <a:pt x="1740636" y="125158"/>
                </a:lnTo>
                <a:close/>
              </a:path>
              <a:path w="3090544" h="253365">
                <a:moveTo>
                  <a:pt x="2277529" y="248894"/>
                </a:moveTo>
                <a:lnTo>
                  <a:pt x="2206523" y="157530"/>
                </a:lnTo>
                <a:lnTo>
                  <a:pt x="2231339" y="145008"/>
                </a:lnTo>
                <a:lnTo>
                  <a:pt x="2249703" y="127965"/>
                </a:lnTo>
                <a:lnTo>
                  <a:pt x="2261095" y="106921"/>
                </a:lnTo>
                <a:lnTo>
                  <a:pt x="2265019" y="82397"/>
                </a:lnTo>
                <a:lnTo>
                  <a:pt x="2258149" y="50393"/>
                </a:lnTo>
                <a:lnTo>
                  <a:pt x="2252942" y="43802"/>
                </a:lnTo>
                <a:lnTo>
                  <a:pt x="2237448" y="24193"/>
                </a:lnTo>
                <a:lnTo>
                  <a:pt x="2202789" y="6502"/>
                </a:lnTo>
                <a:lnTo>
                  <a:pt x="2154047" y="0"/>
                </a:lnTo>
                <a:lnTo>
                  <a:pt x="1820545" y="0"/>
                </a:lnTo>
                <a:lnTo>
                  <a:pt x="1820545" y="248894"/>
                </a:lnTo>
                <a:lnTo>
                  <a:pt x="1977072" y="248894"/>
                </a:lnTo>
                <a:lnTo>
                  <a:pt x="1977072" y="43802"/>
                </a:lnTo>
                <a:lnTo>
                  <a:pt x="2047989" y="43802"/>
                </a:lnTo>
                <a:lnTo>
                  <a:pt x="2073948" y="47777"/>
                </a:lnTo>
                <a:lnTo>
                  <a:pt x="2091486" y="58178"/>
                </a:lnTo>
                <a:lnTo>
                  <a:pt x="2101392" y="72783"/>
                </a:lnTo>
                <a:lnTo>
                  <a:pt x="2104517" y="89331"/>
                </a:lnTo>
                <a:lnTo>
                  <a:pt x="2098624" y="111201"/>
                </a:lnTo>
                <a:lnTo>
                  <a:pt x="2083714" y="127012"/>
                </a:lnTo>
                <a:lnTo>
                  <a:pt x="2063915" y="136613"/>
                </a:lnTo>
                <a:lnTo>
                  <a:pt x="2043353" y="139852"/>
                </a:lnTo>
                <a:lnTo>
                  <a:pt x="2022157" y="139852"/>
                </a:lnTo>
                <a:lnTo>
                  <a:pt x="2081834" y="248894"/>
                </a:lnTo>
                <a:lnTo>
                  <a:pt x="2277529" y="248894"/>
                </a:lnTo>
                <a:close/>
              </a:path>
              <a:path w="3090544" h="253365">
                <a:moveTo>
                  <a:pt x="2523629" y="12"/>
                </a:moveTo>
                <a:lnTo>
                  <a:pt x="2366886" y="12"/>
                </a:lnTo>
                <a:lnTo>
                  <a:pt x="2366886" y="248894"/>
                </a:lnTo>
                <a:lnTo>
                  <a:pt x="2523629" y="248894"/>
                </a:lnTo>
                <a:lnTo>
                  <a:pt x="2523629" y="12"/>
                </a:lnTo>
                <a:close/>
              </a:path>
              <a:path w="3090544" h="253365">
                <a:moveTo>
                  <a:pt x="3090049" y="248894"/>
                </a:moveTo>
                <a:lnTo>
                  <a:pt x="3066224" y="218249"/>
                </a:lnTo>
                <a:lnTo>
                  <a:pt x="3032163" y="174459"/>
                </a:lnTo>
                <a:lnTo>
                  <a:pt x="2968498" y="92595"/>
                </a:lnTo>
                <a:lnTo>
                  <a:pt x="2896476" y="0"/>
                </a:lnTo>
                <a:lnTo>
                  <a:pt x="2845473" y="0"/>
                </a:lnTo>
                <a:lnTo>
                  <a:pt x="2845473" y="174459"/>
                </a:lnTo>
                <a:lnTo>
                  <a:pt x="2716720" y="174459"/>
                </a:lnTo>
                <a:lnTo>
                  <a:pt x="2782201" y="92595"/>
                </a:lnTo>
                <a:lnTo>
                  <a:pt x="2845473" y="174459"/>
                </a:lnTo>
                <a:lnTo>
                  <a:pt x="2845473" y="0"/>
                </a:lnTo>
                <a:lnTo>
                  <a:pt x="2688132" y="0"/>
                </a:lnTo>
                <a:lnTo>
                  <a:pt x="2728988" y="52743"/>
                </a:lnTo>
                <a:lnTo>
                  <a:pt x="2568397" y="248894"/>
                </a:lnTo>
                <a:lnTo>
                  <a:pt x="2661729" y="248894"/>
                </a:lnTo>
                <a:lnTo>
                  <a:pt x="2686913" y="218249"/>
                </a:lnTo>
                <a:lnTo>
                  <a:pt x="2879267" y="218249"/>
                </a:lnTo>
                <a:lnTo>
                  <a:pt x="2902902" y="248894"/>
                </a:lnTo>
                <a:lnTo>
                  <a:pt x="3090049" y="248894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en-AU"/>
          </a:p>
        </p:txBody>
      </p:sp>
      <p:sp>
        <p:nvSpPr>
          <p:cNvPr id="8" name="object 2">
            <a:extLst>
              <a:ext uri="{FF2B5EF4-FFF2-40B4-BE49-F238E27FC236}">
                <a16:creationId xmlns:a16="http://schemas.microsoft.com/office/drawing/2014/main" id="{17A36EEC-5B25-119F-6534-227D2C55BAA2}"/>
              </a:ext>
            </a:extLst>
          </p:cNvPr>
          <p:cNvSpPr txBox="1"/>
          <p:nvPr userDrawn="1"/>
        </p:nvSpPr>
        <p:spPr>
          <a:xfrm>
            <a:off x="7143750" y="1758950"/>
            <a:ext cx="5816600" cy="1133475"/>
          </a:xfrm>
          <a:prstGeom prst="rect">
            <a:avLst/>
          </a:prstGeom>
        </p:spPr>
        <p:txBody>
          <a:bodyPr lIns="0" tIns="89535" rIns="0" bIns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it-IT" sz="2400" b="1" spc="300" dirty="0">
                <a:latin typeface="Helvetica Neue" panose="02000503000000020004" pitchFamily="2" charset="0"/>
              </a:rPr>
              <a:t>DESIGNED FOR LIVING</a:t>
            </a:r>
            <a:endParaRPr lang="it-IT" sz="2400" spc="300" dirty="0">
              <a:latin typeface="Helvetica Neue" panose="02000503000000020004" pitchFamily="2" charset="0"/>
            </a:endParaRPr>
          </a:p>
          <a:p>
            <a:pPr algn="ctr" eaLnBrk="1" fontAlgn="auto" hangingPunct="1">
              <a:spcBef>
                <a:spcPts val="975"/>
              </a:spcBef>
              <a:spcAft>
                <a:spcPts val="0"/>
              </a:spcAft>
              <a:defRPr/>
            </a:pPr>
            <a:r>
              <a:rPr lang="it-IT" sz="3550" b="1" spc="300" dirty="0">
                <a:solidFill>
                  <a:srgbClr val="666666"/>
                </a:solidFill>
                <a:latin typeface="Helvetica Neue"/>
                <a:cs typeface="Helvetica Neue"/>
              </a:rPr>
              <a:t>EXTERIOR</a:t>
            </a:r>
            <a:endParaRPr lang="it-IT" sz="3550" spc="300" dirty="0">
              <a:latin typeface="Helvetica Neue"/>
              <a:cs typeface="Helvetica Neue"/>
            </a:endParaRPr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11559857" y="3401226"/>
            <a:ext cx="7035060" cy="3522979"/>
          </a:xfrm>
          <a:prstGeom prst="rect">
            <a:avLst/>
          </a:prstGeom>
          <a:solidFill>
            <a:srgbClr val="E5E5E5"/>
          </a:solidFill>
        </p:spPr>
        <p:txBody>
          <a:bodyPr/>
          <a:lstStyle>
            <a:lvl1pPr>
              <a:defRPr/>
            </a:lvl1pPr>
          </a:lstStyle>
          <a:p>
            <a:endParaRPr dirty="0"/>
          </a:p>
        </p:txBody>
      </p:sp>
      <p:sp>
        <p:nvSpPr>
          <p:cNvPr id="12" name="Holder 4"/>
          <p:cNvSpPr>
            <a:spLocks noGrp="1"/>
          </p:cNvSpPr>
          <p:nvPr>
            <p:ph sz="half" idx="10"/>
          </p:nvPr>
        </p:nvSpPr>
        <p:spPr>
          <a:xfrm>
            <a:off x="11559857" y="7103797"/>
            <a:ext cx="7035060" cy="3522979"/>
          </a:xfrm>
          <a:prstGeom prst="rect">
            <a:avLst/>
          </a:prstGeom>
          <a:solidFill>
            <a:srgbClr val="E5E5E5"/>
          </a:solidFill>
        </p:spPr>
        <p:txBody>
          <a:bodyPr/>
          <a:lstStyle>
            <a:lvl1pPr>
              <a:defRPr/>
            </a:lvl1pPr>
          </a:lstStyle>
          <a:p>
            <a:endParaRPr dirty="0"/>
          </a:p>
        </p:txBody>
      </p:sp>
      <p:sp>
        <p:nvSpPr>
          <p:cNvPr id="20" name="Segnaposto testo 43"/>
          <p:cNvSpPr>
            <a:spLocks noGrp="1"/>
          </p:cNvSpPr>
          <p:nvPr>
            <p:ph type="body" sz="quarter" idx="25"/>
          </p:nvPr>
        </p:nvSpPr>
        <p:spPr>
          <a:xfrm>
            <a:off x="1554270" y="3385725"/>
            <a:ext cx="7233284" cy="400110"/>
          </a:xfrm>
        </p:spPr>
        <p:txBody>
          <a:bodyPr/>
          <a:lstStyle>
            <a:lvl1pPr>
              <a:defRPr sz="2600" b="1" i="0" u="sng">
                <a:latin typeface="Helvetica" pitchFamily="2" charset="0"/>
              </a:defRPr>
            </a:lvl1pPr>
            <a:lvl2pPr>
              <a:defRPr sz="2600" b="1" i="0">
                <a:latin typeface="Helvetica" pitchFamily="2" charset="0"/>
              </a:defRPr>
            </a:lvl2pPr>
            <a:lvl3pPr>
              <a:defRPr sz="2600" b="1" i="0">
                <a:latin typeface="Helvetica" pitchFamily="2" charset="0"/>
              </a:defRPr>
            </a:lvl3pPr>
            <a:lvl4pPr>
              <a:defRPr sz="2600" b="1" i="0">
                <a:latin typeface="Helvetica" pitchFamily="2" charset="0"/>
              </a:defRPr>
            </a:lvl4pPr>
            <a:lvl5pPr>
              <a:defRPr sz="2600" b="1" i="0">
                <a:latin typeface="Helvetica" pitchFamily="2" charset="0"/>
              </a:defRPr>
            </a:lvl5pPr>
          </a:lstStyle>
          <a:p>
            <a:pPr lvl="0"/>
            <a:endParaRPr lang="it-IT" dirty="0"/>
          </a:p>
        </p:txBody>
      </p:sp>
      <p:sp>
        <p:nvSpPr>
          <p:cNvPr id="23" name="Segnaposto testo 22"/>
          <p:cNvSpPr>
            <a:spLocks noGrp="1"/>
          </p:cNvSpPr>
          <p:nvPr>
            <p:ph type="body" sz="quarter" idx="26"/>
          </p:nvPr>
        </p:nvSpPr>
        <p:spPr>
          <a:xfrm>
            <a:off x="1554163" y="3975839"/>
            <a:ext cx="9046453" cy="338554"/>
          </a:xfrm>
        </p:spPr>
        <p:txBody>
          <a:bodyPr/>
          <a:lstStyle>
            <a:lvl1pPr>
              <a:defRPr sz="2200">
                <a:latin typeface="Helvetica" pitchFamily="2" charset="0"/>
              </a:defRPr>
            </a:lvl1pPr>
          </a:lstStyle>
          <a:p>
            <a:pPr lvl="0"/>
            <a:endParaRPr lang="it-IT" dirty="0"/>
          </a:p>
        </p:txBody>
      </p:sp>
      <p:sp>
        <p:nvSpPr>
          <p:cNvPr id="24" name="Segnaposto testo 43"/>
          <p:cNvSpPr>
            <a:spLocks noGrp="1"/>
          </p:cNvSpPr>
          <p:nvPr>
            <p:ph type="body" sz="quarter" idx="27"/>
          </p:nvPr>
        </p:nvSpPr>
        <p:spPr>
          <a:xfrm>
            <a:off x="1554270" y="5807075"/>
            <a:ext cx="7233284" cy="400110"/>
          </a:xfrm>
        </p:spPr>
        <p:txBody>
          <a:bodyPr/>
          <a:lstStyle>
            <a:lvl1pPr>
              <a:defRPr sz="2600" b="1" i="0" u="sng">
                <a:latin typeface="Helvetica" pitchFamily="2" charset="0"/>
              </a:defRPr>
            </a:lvl1pPr>
            <a:lvl2pPr>
              <a:defRPr sz="2600" b="1" i="0">
                <a:latin typeface="Helvetica" pitchFamily="2" charset="0"/>
              </a:defRPr>
            </a:lvl2pPr>
            <a:lvl3pPr>
              <a:defRPr sz="2600" b="1" i="0">
                <a:latin typeface="Helvetica" pitchFamily="2" charset="0"/>
              </a:defRPr>
            </a:lvl3pPr>
            <a:lvl4pPr>
              <a:defRPr sz="2600" b="1" i="0">
                <a:latin typeface="Helvetica" pitchFamily="2" charset="0"/>
              </a:defRPr>
            </a:lvl4pPr>
            <a:lvl5pPr>
              <a:defRPr sz="2600" b="1" i="0">
                <a:latin typeface="Helvetica" pitchFamily="2" charset="0"/>
              </a:defRPr>
            </a:lvl5pPr>
          </a:lstStyle>
          <a:p>
            <a:pPr lvl="0"/>
            <a:endParaRPr lang="it-IT" dirty="0"/>
          </a:p>
        </p:txBody>
      </p:sp>
      <p:sp>
        <p:nvSpPr>
          <p:cNvPr id="25" name="Segnaposto testo 22"/>
          <p:cNvSpPr>
            <a:spLocks noGrp="1"/>
          </p:cNvSpPr>
          <p:nvPr>
            <p:ph type="body" sz="quarter" idx="28"/>
          </p:nvPr>
        </p:nvSpPr>
        <p:spPr>
          <a:xfrm>
            <a:off x="1554163" y="6397189"/>
            <a:ext cx="9046453" cy="338554"/>
          </a:xfrm>
        </p:spPr>
        <p:txBody>
          <a:bodyPr/>
          <a:lstStyle>
            <a:lvl1pPr>
              <a:defRPr sz="2200">
                <a:latin typeface="Helvetica" pitchFamily="2" charset="0"/>
              </a:defRPr>
            </a:lvl1pPr>
          </a:lstStyle>
          <a:p>
            <a:pPr lvl="0"/>
            <a:endParaRPr lang="it-IT" dirty="0"/>
          </a:p>
        </p:txBody>
      </p:sp>
      <p:sp>
        <p:nvSpPr>
          <p:cNvPr id="26" name="Segnaposto testo 43"/>
          <p:cNvSpPr>
            <a:spLocks noGrp="1"/>
          </p:cNvSpPr>
          <p:nvPr>
            <p:ph type="body" sz="quarter" idx="29"/>
          </p:nvPr>
        </p:nvSpPr>
        <p:spPr>
          <a:xfrm>
            <a:off x="1554270" y="8214098"/>
            <a:ext cx="7233284" cy="400110"/>
          </a:xfrm>
        </p:spPr>
        <p:txBody>
          <a:bodyPr/>
          <a:lstStyle>
            <a:lvl1pPr>
              <a:defRPr sz="2600" b="1" i="0" u="sng">
                <a:latin typeface="Helvetica" pitchFamily="2" charset="0"/>
              </a:defRPr>
            </a:lvl1pPr>
            <a:lvl2pPr>
              <a:defRPr sz="2600" b="1" i="0">
                <a:latin typeface="Helvetica" pitchFamily="2" charset="0"/>
              </a:defRPr>
            </a:lvl2pPr>
            <a:lvl3pPr>
              <a:defRPr sz="2600" b="1" i="0">
                <a:latin typeface="Helvetica" pitchFamily="2" charset="0"/>
              </a:defRPr>
            </a:lvl3pPr>
            <a:lvl4pPr>
              <a:defRPr sz="2600" b="1" i="0">
                <a:latin typeface="Helvetica" pitchFamily="2" charset="0"/>
              </a:defRPr>
            </a:lvl4pPr>
            <a:lvl5pPr>
              <a:defRPr sz="2600" b="1" i="0">
                <a:latin typeface="Helvetica" pitchFamily="2" charset="0"/>
              </a:defRPr>
            </a:lvl5pPr>
          </a:lstStyle>
          <a:p>
            <a:pPr lvl="0"/>
            <a:endParaRPr lang="it-IT" dirty="0"/>
          </a:p>
        </p:txBody>
      </p:sp>
      <p:sp>
        <p:nvSpPr>
          <p:cNvPr id="27" name="Segnaposto testo 22"/>
          <p:cNvSpPr>
            <a:spLocks noGrp="1"/>
          </p:cNvSpPr>
          <p:nvPr>
            <p:ph type="body" sz="quarter" idx="30"/>
          </p:nvPr>
        </p:nvSpPr>
        <p:spPr>
          <a:xfrm>
            <a:off x="1554163" y="8804212"/>
            <a:ext cx="9046453" cy="338554"/>
          </a:xfrm>
        </p:spPr>
        <p:txBody>
          <a:bodyPr/>
          <a:lstStyle>
            <a:lvl1pPr>
              <a:defRPr sz="2200">
                <a:latin typeface="Helvetica" pitchFamily="2" charset="0"/>
              </a:defRPr>
            </a:lvl1pPr>
          </a:lstStyle>
          <a:p>
            <a:pPr lvl="0"/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113514140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Predmet 1" hidden="1">
            <a:extLst>
              <a:ext uri="{FF2B5EF4-FFF2-40B4-BE49-F238E27FC236}">
                <a16:creationId xmlns:a16="http://schemas.microsoft.com/office/drawing/2014/main" id="{C9BF5104-3165-B9EB-AD1A-7E6CAD137F0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2" name="Predmet 1" hidden="1">
                        <a:extLst>
                          <a:ext uri="{FF2B5EF4-FFF2-40B4-BE49-F238E27FC236}">
                            <a16:creationId xmlns:a16="http://schemas.microsoft.com/office/drawing/2014/main" id="{C9BF5104-3165-B9EB-AD1A-7E6CAD137F07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bg object 16">
            <a:extLst>
              <a:ext uri="{FF2B5EF4-FFF2-40B4-BE49-F238E27FC236}">
                <a16:creationId xmlns:a16="http://schemas.microsoft.com/office/drawing/2014/main" id="{15980A46-BA85-BFF6-0A91-2B44C4B0EF0F}"/>
              </a:ext>
            </a:extLst>
          </p:cNvPr>
          <p:cNvSpPr>
            <a:spLocks/>
          </p:cNvSpPr>
          <p:nvPr userDrawn="1"/>
        </p:nvSpPr>
        <p:spPr bwMode="auto">
          <a:xfrm>
            <a:off x="0" y="0"/>
            <a:ext cx="20104100" cy="1546225"/>
          </a:xfrm>
          <a:custGeom>
            <a:avLst/>
            <a:gdLst>
              <a:gd name="T0" fmla="*/ 0 w 20104100"/>
              <a:gd name="T1" fmla="*/ 1530592 h 1530985"/>
              <a:gd name="T2" fmla="*/ 20104099 w 20104100"/>
              <a:gd name="T3" fmla="*/ 1530592 h 1530985"/>
              <a:gd name="T4" fmla="*/ 20104099 w 20104100"/>
              <a:gd name="T5" fmla="*/ 0 h 1530985"/>
              <a:gd name="T6" fmla="*/ 0 w 20104100"/>
              <a:gd name="T7" fmla="*/ 0 h 1530985"/>
              <a:gd name="T8" fmla="*/ 0 w 20104100"/>
              <a:gd name="T9" fmla="*/ 1530592 h 15309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0104100" h="1530985">
                <a:moveTo>
                  <a:pt x="0" y="1530592"/>
                </a:moveTo>
                <a:lnTo>
                  <a:pt x="20104099" y="1530592"/>
                </a:lnTo>
                <a:lnTo>
                  <a:pt x="20104099" y="0"/>
                </a:lnTo>
                <a:lnTo>
                  <a:pt x="0" y="0"/>
                </a:lnTo>
                <a:lnTo>
                  <a:pt x="0" y="1530592"/>
                </a:lnTo>
                <a:close/>
              </a:path>
            </a:pathLst>
          </a:custGeom>
          <a:solidFill>
            <a:srgbClr val="6F778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en-AU"/>
          </a:p>
        </p:txBody>
      </p:sp>
      <p:sp>
        <p:nvSpPr>
          <p:cNvPr id="5" name="Holder 2">
            <a:extLst>
              <a:ext uri="{FF2B5EF4-FFF2-40B4-BE49-F238E27FC236}">
                <a16:creationId xmlns:a16="http://schemas.microsoft.com/office/drawing/2014/main" id="{64CE1ACB-70D9-B0DD-F9C3-2510F3E064B9}"/>
              </a:ext>
            </a:extLst>
          </p:cNvPr>
          <p:cNvSpPr txBox="1">
            <a:spLocks/>
          </p:cNvSpPr>
          <p:nvPr userDrawn="1"/>
        </p:nvSpPr>
        <p:spPr>
          <a:xfrm>
            <a:off x="3346450" y="606425"/>
            <a:ext cx="10163175" cy="400050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>
            <a:lvl1pPr>
              <a:defRPr sz="2600" b="1" i="0">
                <a:solidFill>
                  <a:schemeClr val="bg1"/>
                </a:solidFill>
                <a:latin typeface="Helvetica" pitchFamily="2" charset="0"/>
                <a:ea typeface="+mj-ea"/>
                <a:cs typeface="Helvetica Neue"/>
              </a:defRPr>
            </a:lvl1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it-IT" b="0" kern="0" spc="300" dirty="0">
                <a:latin typeface="Helvetica Light" panose="020B0403020202020204" pitchFamily="34" charset="0"/>
              </a:rPr>
              <a:t>COLLECTION</a:t>
            </a:r>
          </a:p>
        </p:txBody>
      </p:sp>
      <p:sp>
        <p:nvSpPr>
          <p:cNvPr id="6" name="Holder 2">
            <a:extLst>
              <a:ext uri="{FF2B5EF4-FFF2-40B4-BE49-F238E27FC236}">
                <a16:creationId xmlns:a16="http://schemas.microsoft.com/office/drawing/2014/main" id="{31FFB4AF-AEA7-3D9B-6719-B29BC25698B4}"/>
              </a:ext>
            </a:extLst>
          </p:cNvPr>
          <p:cNvSpPr txBox="1">
            <a:spLocks/>
          </p:cNvSpPr>
          <p:nvPr userDrawn="1"/>
        </p:nvSpPr>
        <p:spPr>
          <a:xfrm>
            <a:off x="679450" y="606425"/>
            <a:ext cx="2667000" cy="400050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>
            <a:lvl1pPr>
              <a:defRPr sz="2600" b="1" i="0">
                <a:solidFill>
                  <a:schemeClr val="bg1"/>
                </a:solidFill>
                <a:latin typeface="Helvetica" pitchFamily="2" charset="0"/>
                <a:ea typeface="+mj-ea"/>
                <a:cs typeface="Helvetica Neue"/>
              </a:defRPr>
            </a:lvl1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it-IT" spc="600" dirty="0"/>
              <a:t>CARAVANS</a:t>
            </a:r>
            <a:endParaRPr lang="it-IT" kern="0" spc="600" dirty="0"/>
          </a:p>
        </p:txBody>
      </p:sp>
      <p:sp>
        <p:nvSpPr>
          <p:cNvPr id="7" name="object 2">
            <a:extLst>
              <a:ext uri="{FF2B5EF4-FFF2-40B4-BE49-F238E27FC236}">
                <a16:creationId xmlns:a16="http://schemas.microsoft.com/office/drawing/2014/main" id="{66C0B7C2-0683-0FFC-BEE1-3B1E3410B86F}"/>
              </a:ext>
            </a:extLst>
          </p:cNvPr>
          <p:cNvSpPr>
            <a:spLocks/>
          </p:cNvSpPr>
          <p:nvPr userDrawn="1"/>
        </p:nvSpPr>
        <p:spPr bwMode="auto">
          <a:xfrm>
            <a:off x="16451263" y="663575"/>
            <a:ext cx="3090862" cy="254000"/>
          </a:xfrm>
          <a:custGeom>
            <a:avLst/>
            <a:gdLst>
              <a:gd name="T0" fmla="*/ 343852 w 3090544"/>
              <a:gd name="T1" fmla="*/ 175133 h 253365"/>
              <a:gd name="T2" fmla="*/ 293979 w 3090544"/>
              <a:gd name="T3" fmla="*/ 165417 h 253365"/>
              <a:gd name="T4" fmla="*/ 266420 w 3090544"/>
              <a:gd name="T5" fmla="*/ 207365 h 253365"/>
              <a:gd name="T6" fmla="*/ 293979 w 3090544"/>
              <a:gd name="T7" fmla="*/ 249301 h 253365"/>
              <a:gd name="T8" fmla="*/ 343852 w 3090544"/>
              <a:gd name="T9" fmla="*/ 239534 h 253365"/>
              <a:gd name="T10" fmla="*/ 622452 w 3090544"/>
              <a:gd name="T11" fmla="*/ 246989 h 253365"/>
              <a:gd name="T12" fmla="*/ 413931 w 3090544"/>
              <a:gd name="T13" fmla="*/ 7061 h 253365"/>
              <a:gd name="T14" fmla="*/ 75628 w 3090544"/>
              <a:gd name="T15" fmla="*/ 9728 h 253365"/>
              <a:gd name="T16" fmla="*/ 0 w 3090544"/>
              <a:gd name="T17" fmla="*/ 123494 h 253365"/>
              <a:gd name="T18" fmla="*/ 75628 w 3090544"/>
              <a:gd name="T19" fmla="*/ 237286 h 253365"/>
              <a:gd name="T20" fmla="*/ 238823 w 3090544"/>
              <a:gd name="T21" fmla="*/ 203530 h 253365"/>
              <a:gd name="T22" fmla="*/ 164350 w 3090544"/>
              <a:gd name="T23" fmla="*/ 153962 h 253365"/>
              <a:gd name="T24" fmla="*/ 181749 w 3090544"/>
              <a:gd name="T25" fmla="*/ 65608 h 253365"/>
              <a:gd name="T26" fmla="*/ 258483 w 3090544"/>
              <a:gd name="T27" fmla="*/ 44411 h 253365"/>
              <a:gd name="T28" fmla="*/ 303085 w 3090544"/>
              <a:gd name="T29" fmla="*/ 74142 h 253365"/>
              <a:gd name="T30" fmla="*/ 1268044 w 3090544"/>
              <a:gd name="T31" fmla="*/ 248894 h 253365"/>
              <a:gd name="T32" fmla="*/ 1146378 w 3090544"/>
              <a:gd name="T33" fmla="*/ 92595 h 253365"/>
              <a:gd name="T34" fmla="*/ 1023289 w 3090544"/>
              <a:gd name="T35" fmla="*/ 174459 h 253365"/>
              <a:gd name="T36" fmla="*/ 1023289 w 3090544"/>
              <a:gd name="T37" fmla="*/ 174459 h 253365"/>
              <a:gd name="T38" fmla="*/ 906818 w 3090544"/>
              <a:gd name="T39" fmla="*/ 52743 h 253365"/>
              <a:gd name="T40" fmla="*/ 864831 w 3090544"/>
              <a:gd name="T41" fmla="*/ 218249 h 253365"/>
              <a:gd name="T42" fmla="*/ 1268044 w 3090544"/>
              <a:gd name="T43" fmla="*/ 248894 h 253365"/>
              <a:gd name="T44" fmla="*/ 1706829 w 3090544"/>
              <a:gd name="T45" fmla="*/ 43764 h 253365"/>
              <a:gd name="T46" fmla="*/ 1585315 w 3090544"/>
              <a:gd name="T47" fmla="*/ 2298 h 253365"/>
              <a:gd name="T48" fmla="*/ 1564487 w 3090544"/>
              <a:gd name="T49" fmla="*/ 183870 h 253365"/>
              <a:gd name="T50" fmla="*/ 1458353 w 3090544"/>
              <a:gd name="T51" fmla="*/ 205105 h 253365"/>
              <a:gd name="T52" fmla="*/ 1538414 w 3090544"/>
              <a:gd name="T53" fmla="*/ 49377 h 253365"/>
              <a:gd name="T54" fmla="*/ 1585315 w 3090544"/>
              <a:gd name="T55" fmla="*/ 124942 h 253365"/>
              <a:gd name="T56" fmla="*/ 1301597 w 3090544"/>
              <a:gd name="T57" fmla="*/ 0 h 253365"/>
              <a:gd name="T58" fmla="*/ 1604314 w 3090544"/>
              <a:gd name="T59" fmla="*/ 245668 h 253365"/>
              <a:gd name="T60" fmla="*/ 1735251 w 3090544"/>
              <a:gd name="T61" fmla="*/ 164058 h 253365"/>
              <a:gd name="T62" fmla="*/ 2206523 w 3090544"/>
              <a:gd name="T63" fmla="*/ 157530 h 253365"/>
              <a:gd name="T64" fmla="*/ 2261095 w 3090544"/>
              <a:gd name="T65" fmla="*/ 106921 h 253365"/>
              <a:gd name="T66" fmla="*/ 2252942 w 3090544"/>
              <a:gd name="T67" fmla="*/ 43802 h 253365"/>
              <a:gd name="T68" fmla="*/ 2154047 w 3090544"/>
              <a:gd name="T69" fmla="*/ 0 h 253365"/>
              <a:gd name="T70" fmla="*/ 1977072 w 3090544"/>
              <a:gd name="T71" fmla="*/ 248894 h 253365"/>
              <a:gd name="T72" fmla="*/ 2073948 w 3090544"/>
              <a:gd name="T73" fmla="*/ 47777 h 253365"/>
              <a:gd name="T74" fmla="*/ 2104517 w 3090544"/>
              <a:gd name="T75" fmla="*/ 89331 h 253365"/>
              <a:gd name="T76" fmla="*/ 2063915 w 3090544"/>
              <a:gd name="T77" fmla="*/ 136613 h 253365"/>
              <a:gd name="T78" fmla="*/ 2081834 w 3090544"/>
              <a:gd name="T79" fmla="*/ 248894 h 253365"/>
              <a:gd name="T80" fmla="*/ 2366886 w 3090544"/>
              <a:gd name="T81" fmla="*/ 12 h 253365"/>
              <a:gd name="T82" fmla="*/ 2523629 w 3090544"/>
              <a:gd name="T83" fmla="*/ 12 h 253365"/>
              <a:gd name="T84" fmla="*/ 3032163 w 3090544"/>
              <a:gd name="T85" fmla="*/ 174459 h 253365"/>
              <a:gd name="T86" fmla="*/ 2845473 w 3090544"/>
              <a:gd name="T87" fmla="*/ 0 h 253365"/>
              <a:gd name="T88" fmla="*/ 2782201 w 3090544"/>
              <a:gd name="T89" fmla="*/ 92595 h 253365"/>
              <a:gd name="T90" fmla="*/ 2688132 w 3090544"/>
              <a:gd name="T91" fmla="*/ 0 h 253365"/>
              <a:gd name="T92" fmla="*/ 2661729 w 3090544"/>
              <a:gd name="T93" fmla="*/ 248894 h 253365"/>
              <a:gd name="T94" fmla="*/ 2902902 w 3090544"/>
              <a:gd name="T95" fmla="*/ 248894 h 25336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3090544" h="253365">
                <a:moveTo>
                  <a:pt x="357009" y="207365"/>
                </a:moveTo>
                <a:lnTo>
                  <a:pt x="353491" y="189585"/>
                </a:lnTo>
                <a:lnTo>
                  <a:pt x="343852" y="175133"/>
                </a:lnTo>
                <a:lnTo>
                  <a:pt x="329476" y="165417"/>
                </a:lnTo>
                <a:lnTo>
                  <a:pt x="311746" y="161861"/>
                </a:lnTo>
                <a:lnTo>
                  <a:pt x="293979" y="165417"/>
                </a:lnTo>
                <a:lnTo>
                  <a:pt x="279577" y="175133"/>
                </a:lnTo>
                <a:lnTo>
                  <a:pt x="269938" y="189585"/>
                </a:lnTo>
                <a:lnTo>
                  <a:pt x="266420" y="207365"/>
                </a:lnTo>
                <a:lnTo>
                  <a:pt x="269938" y="225056"/>
                </a:lnTo>
                <a:lnTo>
                  <a:pt x="279577" y="239534"/>
                </a:lnTo>
                <a:lnTo>
                  <a:pt x="293979" y="249301"/>
                </a:lnTo>
                <a:lnTo>
                  <a:pt x="311746" y="252895"/>
                </a:lnTo>
                <a:lnTo>
                  <a:pt x="329476" y="249301"/>
                </a:lnTo>
                <a:lnTo>
                  <a:pt x="343852" y="239534"/>
                </a:lnTo>
                <a:lnTo>
                  <a:pt x="353491" y="225056"/>
                </a:lnTo>
                <a:lnTo>
                  <a:pt x="357009" y="207365"/>
                </a:lnTo>
                <a:close/>
              </a:path>
              <a:path w="3090544" h="253365">
                <a:moveTo>
                  <a:pt x="622452" y="246989"/>
                </a:moveTo>
                <a:lnTo>
                  <a:pt x="493928" y="81991"/>
                </a:lnTo>
                <a:lnTo>
                  <a:pt x="469874" y="51904"/>
                </a:lnTo>
                <a:lnTo>
                  <a:pt x="413931" y="7061"/>
                </a:lnTo>
                <a:lnTo>
                  <a:pt x="377621" y="12"/>
                </a:lnTo>
                <a:lnTo>
                  <a:pt x="123710" y="12"/>
                </a:lnTo>
                <a:lnTo>
                  <a:pt x="75628" y="9728"/>
                </a:lnTo>
                <a:lnTo>
                  <a:pt x="36296" y="36195"/>
                </a:lnTo>
                <a:lnTo>
                  <a:pt x="9740" y="75450"/>
                </a:lnTo>
                <a:lnTo>
                  <a:pt x="0" y="123494"/>
                </a:lnTo>
                <a:lnTo>
                  <a:pt x="9740" y="171564"/>
                </a:lnTo>
                <a:lnTo>
                  <a:pt x="36296" y="210820"/>
                </a:lnTo>
                <a:lnTo>
                  <a:pt x="75628" y="237286"/>
                </a:lnTo>
                <a:lnTo>
                  <a:pt x="123710" y="246989"/>
                </a:lnTo>
                <a:lnTo>
                  <a:pt x="238823" y="246989"/>
                </a:lnTo>
                <a:lnTo>
                  <a:pt x="238823" y="203530"/>
                </a:lnTo>
                <a:lnTo>
                  <a:pt x="207429" y="197129"/>
                </a:lnTo>
                <a:lnTo>
                  <a:pt x="181724" y="179705"/>
                </a:lnTo>
                <a:lnTo>
                  <a:pt x="164350" y="153962"/>
                </a:lnTo>
                <a:lnTo>
                  <a:pt x="157975" y="122542"/>
                </a:lnTo>
                <a:lnTo>
                  <a:pt x="164363" y="91198"/>
                </a:lnTo>
                <a:lnTo>
                  <a:pt x="181749" y="65608"/>
                </a:lnTo>
                <a:lnTo>
                  <a:pt x="207530" y="48361"/>
                </a:lnTo>
                <a:lnTo>
                  <a:pt x="239064" y="42037"/>
                </a:lnTo>
                <a:lnTo>
                  <a:pt x="258483" y="44411"/>
                </a:lnTo>
                <a:lnTo>
                  <a:pt x="275844" y="51041"/>
                </a:lnTo>
                <a:lnTo>
                  <a:pt x="290817" y="61201"/>
                </a:lnTo>
                <a:lnTo>
                  <a:pt x="303085" y="74142"/>
                </a:lnTo>
                <a:lnTo>
                  <a:pt x="436664" y="246989"/>
                </a:lnTo>
                <a:lnTo>
                  <a:pt x="622452" y="246989"/>
                </a:lnTo>
                <a:close/>
              </a:path>
              <a:path w="3090544" h="253365">
                <a:moveTo>
                  <a:pt x="1268044" y="248894"/>
                </a:moveTo>
                <a:lnTo>
                  <a:pt x="1244193" y="218249"/>
                </a:lnTo>
                <a:lnTo>
                  <a:pt x="1210106" y="174459"/>
                </a:lnTo>
                <a:lnTo>
                  <a:pt x="1146378" y="92595"/>
                </a:lnTo>
                <a:lnTo>
                  <a:pt x="1074293" y="0"/>
                </a:lnTo>
                <a:lnTo>
                  <a:pt x="1023289" y="0"/>
                </a:lnTo>
                <a:lnTo>
                  <a:pt x="1023289" y="174459"/>
                </a:lnTo>
                <a:lnTo>
                  <a:pt x="894892" y="174459"/>
                </a:lnTo>
                <a:lnTo>
                  <a:pt x="960107" y="92595"/>
                </a:lnTo>
                <a:lnTo>
                  <a:pt x="1023289" y="174459"/>
                </a:lnTo>
                <a:lnTo>
                  <a:pt x="1023289" y="0"/>
                </a:lnTo>
                <a:lnTo>
                  <a:pt x="866051" y="0"/>
                </a:lnTo>
                <a:lnTo>
                  <a:pt x="906818" y="52743"/>
                </a:lnTo>
                <a:lnTo>
                  <a:pt x="746315" y="248894"/>
                </a:lnTo>
                <a:lnTo>
                  <a:pt x="839660" y="248894"/>
                </a:lnTo>
                <a:lnTo>
                  <a:pt x="864831" y="218249"/>
                </a:lnTo>
                <a:lnTo>
                  <a:pt x="1057160" y="218249"/>
                </a:lnTo>
                <a:lnTo>
                  <a:pt x="1080795" y="248894"/>
                </a:lnTo>
                <a:lnTo>
                  <a:pt x="1268044" y="248894"/>
                </a:lnTo>
                <a:close/>
              </a:path>
              <a:path w="3090544" h="253365">
                <a:moveTo>
                  <a:pt x="1740636" y="125158"/>
                </a:moveTo>
                <a:lnTo>
                  <a:pt x="1735315" y="86347"/>
                </a:lnTo>
                <a:lnTo>
                  <a:pt x="1706829" y="43764"/>
                </a:lnTo>
                <a:lnTo>
                  <a:pt x="1654098" y="13538"/>
                </a:lnTo>
                <a:lnTo>
                  <a:pt x="1604657" y="3365"/>
                </a:lnTo>
                <a:lnTo>
                  <a:pt x="1585315" y="2298"/>
                </a:lnTo>
                <a:lnTo>
                  <a:pt x="1585315" y="124942"/>
                </a:lnTo>
                <a:lnTo>
                  <a:pt x="1580108" y="158673"/>
                </a:lnTo>
                <a:lnTo>
                  <a:pt x="1564487" y="183870"/>
                </a:lnTo>
                <a:lnTo>
                  <a:pt x="1538516" y="199644"/>
                </a:lnTo>
                <a:lnTo>
                  <a:pt x="1502232" y="205105"/>
                </a:lnTo>
                <a:lnTo>
                  <a:pt x="1458353" y="205105"/>
                </a:lnTo>
                <a:lnTo>
                  <a:pt x="1458353" y="43764"/>
                </a:lnTo>
                <a:lnTo>
                  <a:pt x="1502232" y="43764"/>
                </a:lnTo>
                <a:lnTo>
                  <a:pt x="1538414" y="49377"/>
                </a:lnTo>
                <a:lnTo>
                  <a:pt x="1564398" y="65506"/>
                </a:lnTo>
                <a:lnTo>
                  <a:pt x="1580070" y="91059"/>
                </a:lnTo>
                <a:lnTo>
                  <a:pt x="1585315" y="124942"/>
                </a:lnTo>
                <a:lnTo>
                  <a:pt x="1585315" y="2298"/>
                </a:lnTo>
                <a:lnTo>
                  <a:pt x="1543723" y="0"/>
                </a:lnTo>
                <a:lnTo>
                  <a:pt x="1301597" y="0"/>
                </a:lnTo>
                <a:lnTo>
                  <a:pt x="1301597" y="248894"/>
                </a:lnTo>
                <a:lnTo>
                  <a:pt x="1543723" y="248894"/>
                </a:lnTo>
                <a:lnTo>
                  <a:pt x="1604314" y="245668"/>
                </a:lnTo>
                <a:lnTo>
                  <a:pt x="1653654" y="235839"/>
                </a:lnTo>
                <a:lnTo>
                  <a:pt x="1691855" y="219138"/>
                </a:lnTo>
                <a:lnTo>
                  <a:pt x="1735251" y="164058"/>
                </a:lnTo>
                <a:lnTo>
                  <a:pt x="1740636" y="125158"/>
                </a:lnTo>
                <a:close/>
              </a:path>
              <a:path w="3090544" h="253365">
                <a:moveTo>
                  <a:pt x="2277529" y="248894"/>
                </a:moveTo>
                <a:lnTo>
                  <a:pt x="2206523" y="157530"/>
                </a:lnTo>
                <a:lnTo>
                  <a:pt x="2231339" y="145008"/>
                </a:lnTo>
                <a:lnTo>
                  <a:pt x="2249703" y="127965"/>
                </a:lnTo>
                <a:lnTo>
                  <a:pt x="2261095" y="106921"/>
                </a:lnTo>
                <a:lnTo>
                  <a:pt x="2265019" y="82397"/>
                </a:lnTo>
                <a:lnTo>
                  <a:pt x="2258149" y="50393"/>
                </a:lnTo>
                <a:lnTo>
                  <a:pt x="2252942" y="43802"/>
                </a:lnTo>
                <a:lnTo>
                  <a:pt x="2237448" y="24193"/>
                </a:lnTo>
                <a:lnTo>
                  <a:pt x="2202789" y="6502"/>
                </a:lnTo>
                <a:lnTo>
                  <a:pt x="2154047" y="0"/>
                </a:lnTo>
                <a:lnTo>
                  <a:pt x="1820545" y="0"/>
                </a:lnTo>
                <a:lnTo>
                  <a:pt x="1820545" y="248894"/>
                </a:lnTo>
                <a:lnTo>
                  <a:pt x="1977072" y="248894"/>
                </a:lnTo>
                <a:lnTo>
                  <a:pt x="1977072" y="43802"/>
                </a:lnTo>
                <a:lnTo>
                  <a:pt x="2047989" y="43802"/>
                </a:lnTo>
                <a:lnTo>
                  <a:pt x="2073948" y="47777"/>
                </a:lnTo>
                <a:lnTo>
                  <a:pt x="2091486" y="58178"/>
                </a:lnTo>
                <a:lnTo>
                  <a:pt x="2101392" y="72783"/>
                </a:lnTo>
                <a:lnTo>
                  <a:pt x="2104517" y="89331"/>
                </a:lnTo>
                <a:lnTo>
                  <a:pt x="2098624" y="111201"/>
                </a:lnTo>
                <a:lnTo>
                  <a:pt x="2083714" y="127012"/>
                </a:lnTo>
                <a:lnTo>
                  <a:pt x="2063915" y="136613"/>
                </a:lnTo>
                <a:lnTo>
                  <a:pt x="2043353" y="139852"/>
                </a:lnTo>
                <a:lnTo>
                  <a:pt x="2022157" y="139852"/>
                </a:lnTo>
                <a:lnTo>
                  <a:pt x="2081834" y="248894"/>
                </a:lnTo>
                <a:lnTo>
                  <a:pt x="2277529" y="248894"/>
                </a:lnTo>
                <a:close/>
              </a:path>
              <a:path w="3090544" h="253365">
                <a:moveTo>
                  <a:pt x="2523629" y="12"/>
                </a:moveTo>
                <a:lnTo>
                  <a:pt x="2366886" y="12"/>
                </a:lnTo>
                <a:lnTo>
                  <a:pt x="2366886" y="248894"/>
                </a:lnTo>
                <a:lnTo>
                  <a:pt x="2523629" y="248894"/>
                </a:lnTo>
                <a:lnTo>
                  <a:pt x="2523629" y="12"/>
                </a:lnTo>
                <a:close/>
              </a:path>
              <a:path w="3090544" h="253365">
                <a:moveTo>
                  <a:pt x="3090049" y="248894"/>
                </a:moveTo>
                <a:lnTo>
                  <a:pt x="3066224" y="218249"/>
                </a:lnTo>
                <a:lnTo>
                  <a:pt x="3032163" y="174459"/>
                </a:lnTo>
                <a:lnTo>
                  <a:pt x="2968498" y="92595"/>
                </a:lnTo>
                <a:lnTo>
                  <a:pt x="2896476" y="0"/>
                </a:lnTo>
                <a:lnTo>
                  <a:pt x="2845473" y="0"/>
                </a:lnTo>
                <a:lnTo>
                  <a:pt x="2845473" y="174459"/>
                </a:lnTo>
                <a:lnTo>
                  <a:pt x="2716720" y="174459"/>
                </a:lnTo>
                <a:lnTo>
                  <a:pt x="2782201" y="92595"/>
                </a:lnTo>
                <a:lnTo>
                  <a:pt x="2845473" y="174459"/>
                </a:lnTo>
                <a:lnTo>
                  <a:pt x="2845473" y="0"/>
                </a:lnTo>
                <a:lnTo>
                  <a:pt x="2688132" y="0"/>
                </a:lnTo>
                <a:lnTo>
                  <a:pt x="2728988" y="52743"/>
                </a:lnTo>
                <a:lnTo>
                  <a:pt x="2568397" y="248894"/>
                </a:lnTo>
                <a:lnTo>
                  <a:pt x="2661729" y="248894"/>
                </a:lnTo>
                <a:lnTo>
                  <a:pt x="2686913" y="218249"/>
                </a:lnTo>
                <a:lnTo>
                  <a:pt x="2879267" y="218249"/>
                </a:lnTo>
                <a:lnTo>
                  <a:pt x="2902902" y="248894"/>
                </a:lnTo>
                <a:lnTo>
                  <a:pt x="3090049" y="248894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en-AU"/>
          </a:p>
        </p:txBody>
      </p:sp>
      <p:sp>
        <p:nvSpPr>
          <p:cNvPr id="8" name="object 2">
            <a:extLst>
              <a:ext uri="{FF2B5EF4-FFF2-40B4-BE49-F238E27FC236}">
                <a16:creationId xmlns:a16="http://schemas.microsoft.com/office/drawing/2014/main" id="{89665A75-155D-57D1-BBCE-09EA4FC81F4B}"/>
              </a:ext>
            </a:extLst>
          </p:cNvPr>
          <p:cNvSpPr txBox="1"/>
          <p:nvPr userDrawn="1"/>
        </p:nvSpPr>
        <p:spPr>
          <a:xfrm>
            <a:off x="7143750" y="1758950"/>
            <a:ext cx="5816600" cy="1133475"/>
          </a:xfrm>
          <a:prstGeom prst="rect">
            <a:avLst/>
          </a:prstGeom>
        </p:spPr>
        <p:txBody>
          <a:bodyPr lIns="0" tIns="89535" rIns="0" bIns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it-IT" sz="2400" b="1" spc="300" dirty="0">
                <a:latin typeface="Helvetica Neue" panose="02000503000000020004" pitchFamily="2" charset="0"/>
              </a:rPr>
              <a:t>DESIGNED FOR LIVING</a:t>
            </a:r>
            <a:endParaRPr lang="it-IT" sz="2400" spc="300" dirty="0">
              <a:latin typeface="Helvetica Neue" panose="02000503000000020004" pitchFamily="2" charset="0"/>
            </a:endParaRPr>
          </a:p>
          <a:p>
            <a:pPr algn="ctr" eaLnBrk="1" fontAlgn="auto" hangingPunct="1">
              <a:spcBef>
                <a:spcPts val="975"/>
              </a:spcBef>
              <a:spcAft>
                <a:spcPts val="0"/>
              </a:spcAft>
              <a:defRPr/>
            </a:pPr>
            <a:r>
              <a:rPr lang="it-IT" sz="3550" b="1" spc="300" dirty="0">
                <a:solidFill>
                  <a:srgbClr val="666666"/>
                </a:solidFill>
                <a:latin typeface="Helvetica Neue"/>
                <a:cs typeface="Helvetica Neue"/>
              </a:rPr>
              <a:t>INTERIOR</a:t>
            </a:r>
            <a:endParaRPr lang="it-IT" sz="3550" spc="300" dirty="0">
              <a:latin typeface="Helvetica Neue"/>
              <a:cs typeface="Helvetica Neue"/>
            </a:endParaRPr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6284172" y="3401226"/>
            <a:ext cx="12310745" cy="7225030"/>
          </a:xfrm>
          <a:prstGeom prst="rect">
            <a:avLst/>
          </a:prstGeom>
          <a:solidFill>
            <a:srgbClr val="E5E5E5"/>
          </a:solidFill>
        </p:spPr>
        <p:txBody>
          <a:bodyPr/>
          <a:lstStyle>
            <a:lvl1pPr>
              <a:defRPr/>
            </a:lvl1pPr>
          </a:lstStyle>
          <a:p>
            <a:endParaRPr dirty="0"/>
          </a:p>
        </p:txBody>
      </p:sp>
      <p:sp>
        <p:nvSpPr>
          <p:cNvPr id="13" name="Holder 2"/>
          <p:cNvSpPr>
            <a:spLocks noGrp="1"/>
          </p:cNvSpPr>
          <p:nvPr>
            <p:ph type="ctrTitle"/>
          </p:nvPr>
        </p:nvSpPr>
        <p:spPr>
          <a:xfrm>
            <a:off x="1534064" y="3368675"/>
            <a:ext cx="4022186" cy="9144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600" b="1" i="0" u="sng">
                <a:latin typeface="Helvetica" pitchFamily="2" charset="0"/>
              </a:defRPr>
            </a:lvl1pPr>
          </a:lstStyle>
          <a:p>
            <a:endParaRPr lang="it-IT" dirty="0"/>
          </a:p>
        </p:txBody>
      </p:sp>
      <p:sp>
        <p:nvSpPr>
          <p:cNvPr id="14" name="Holder 3"/>
          <p:cNvSpPr>
            <a:spLocks noGrp="1"/>
          </p:cNvSpPr>
          <p:nvPr>
            <p:ph type="subTitle" idx="4"/>
          </p:nvPr>
        </p:nvSpPr>
        <p:spPr>
          <a:xfrm>
            <a:off x="1534064" y="4384841"/>
            <a:ext cx="4022186" cy="5257800"/>
          </a:xfrm>
          <a:prstGeom prst="rect">
            <a:avLst/>
          </a:prstGeom>
        </p:spPr>
        <p:txBody>
          <a:bodyPr/>
          <a:lstStyle>
            <a:lvl1pPr>
              <a:defRPr sz="2200"/>
            </a:lvl1pPr>
          </a:lstStyle>
          <a:p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119974128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Predmet 1" hidden="1">
            <a:extLst>
              <a:ext uri="{FF2B5EF4-FFF2-40B4-BE49-F238E27FC236}">
                <a16:creationId xmlns:a16="http://schemas.microsoft.com/office/drawing/2014/main" id="{D5B69A5E-1E24-A4F7-749E-D56C36832D0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3" name="Predmet 1" hidden="1">
                        <a:extLst>
                          <a:ext uri="{FF2B5EF4-FFF2-40B4-BE49-F238E27FC236}">
                            <a16:creationId xmlns:a16="http://schemas.microsoft.com/office/drawing/2014/main" id="{D5B69A5E-1E24-A4F7-749E-D56C36832D07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bg object 16">
            <a:extLst>
              <a:ext uri="{FF2B5EF4-FFF2-40B4-BE49-F238E27FC236}">
                <a16:creationId xmlns:a16="http://schemas.microsoft.com/office/drawing/2014/main" id="{CF2EC8C8-41BD-BF73-3EEF-4A874292EFB6}"/>
              </a:ext>
            </a:extLst>
          </p:cNvPr>
          <p:cNvSpPr>
            <a:spLocks/>
          </p:cNvSpPr>
          <p:nvPr userDrawn="1"/>
        </p:nvSpPr>
        <p:spPr bwMode="auto">
          <a:xfrm>
            <a:off x="0" y="0"/>
            <a:ext cx="20104100" cy="1546225"/>
          </a:xfrm>
          <a:custGeom>
            <a:avLst/>
            <a:gdLst>
              <a:gd name="T0" fmla="*/ 0 w 20104100"/>
              <a:gd name="T1" fmla="*/ 1530592 h 1530985"/>
              <a:gd name="T2" fmla="*/ 20104099 w 20104100"/>
              <a:gd name="T3" fmla="*/ 1530592 h 1530985"/>
              <a:gd name="T4" fmla="*/ 20104099 w 20104100"/>
              <a:gd name="T5" fmla="*/ 0 h 1530985"/>
              <a:gd name="T6" fmla="*/ 0 w 20104100"/>
              <a:gd name="T7" fmla="*/ 0 h 1530985"/>
              <a:gd name="T8" fmla="*/ 0 w 20104100"/>
              <a:gd name="T9" fmla="*/ 1530592 h 15309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0104100" h="1530985">
                <a:moveTo>
                  <a:pt x="0" y="1530592"/>
                </a:moveTo>
                <a:lnTo>
                  <a:pt x="20104099" y="1530592"/>
                </a:lnTo>
                <a:lnTo>
                  <a:pt x="20104099" y="0"/>
                </a:lnTo>
                <a:lnTo>
                  <a:pt x="0" y="0"/>
                </a:lnTo>
                <a:lnTo>
                  <a:pt x="0" y="1530592"/>
                </a:lnTo>
                <a:close/>
              </a:path>
            </a:pathLst>
          </a:custGeom>
          <a:solidFill>
            <a:srgbClr val="6F778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en-AU"/>
          </a:p>
        </p:txBody>
      </p:sp>
      <p:sp>
        <p:nvSpPr>
          <p:cNvPr id="5" name="Holder 2">
            <a:extLst>
              <a:ext uri="{FF2B5EF4-FFF2-40B4-BE49-F238E27FC236}">
                <a16:creationId xmlns:a16="http://schemas.microsoft.com/office/drawing/2014/main" id="{13BB3883-22E9-0E0B-741E-CAAC011A0344}"/>
              </a:ext>
            </a:extLst>
          </p:cNvPr>
          <p:cNvSpPr txBox="1">
            <a:spLocks/>
          </p:cNvSpPr>
          <p:nvPr userDrawn="1"/>
        </p:nvSpPr>
        <p:spPr>
          <a:xfrm>
            <a:off x="3346450" y="606425"/>
            <a:ext cx="10163175" cy="400050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>
            <a:lvl1pPr>
              <a:defRPr sz="2600" b="1" i="0">
                <a:solidFill>
                  <a:schemeClr val="bg1"/>
                </a:solidFill>
                <a:latin typeface="Helvetica" pitchFamily="2" charset="0"/>
                <a:ea typeface="+mj-ea"/>
                <a:cs typeface="Helvetica Neue"/>
              </a:defRPr>
            </a:lvl1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it-IT" b="0" kern="0" spc="300" dirty="0">
                <a:latin typeface="Helvetica Light" panose="020B0403020202020204" pitchFamily="34" charset="0"/>
              </a:rPr>
              <a:t>COLLECTION</a:t>
            </a:r>
          </a:p>
        </p:txBody>
      </p:sp>
      <p:sp>
        <p:nvSpPr>
          <p:cNvPr id="6" name="Holder 2">
            <a:extLst>
              <a:ext uri="{FF2B5EF4-FFF2-40B4-BE49-F238E27FC236}">
                <a16:creationId xmlns:a16="http://schemas.microsoft.com/office/drawing/2014/main" id="{F27FD4A4-7102-D804-8911-F93B916957CF}"/>
              </a:ext>
            </a:extLst>
          </p:cNvPr>
          <p:cNvSpPr txBox="1">
            <a:spLocks/>
          </p:cNvSpPr>
          <p:nvPr userDrawn="1"/>
        </p:nvSpPr>
        <p:spPr>
          <a:xfrm>
            <a:off x="679450" y="606425"/>
            <a:ext cx="2667000" cy="400050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>
            <a:lvl1pPr>
              <a:defRPr sz="2600" b="1" i="0">
                <a:solidFill>
                  <a:schemeClr val="bg1"/>
                </a:solidFill>
                <a:latin typeface="Helvetica" pitchFamily="2" charset="0"/>
                <a:ea typeface="+mj-ea"/>
                <a:cs typeface="Helvetica Neue"/>
              </a:defRPr>
            </a:lvl1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it-IT" spc="600" dirty="0"/>
              <a:t>CARAVANS</a:t>
            </a:r>
            <a:endParaRPr lang="it-IT" kern="0" spc="600" dirty="0"/>
          </a:p>
        </p:txBody>
      </p:sp>
      <p:sp>
        <p:nvSpPr>
          <p:cNvPr id="7" name="object 2">
            <a:extLst>
              <a:ext uri="{FF2B5EF4-FFF2-40B4-BE49-F238E27FC236}">
                <a16:creationId xmlns:a16="http://schemas.microsoft.com/office/drawing/2014/main" id="{FD4D0187-5206-EBB0-4852-F4C7D81848FD}"/>
              </a:ext>
            </a:extLst>
          </p:cNvPr>
          <p:cNvSpPr>
            <a:spLocks/>
          </p:cNvSpPr>
          <p:nvPr userDrawn="1"/>
        </p:nvSpPr>
        <p:spPr bwMode="auto">
          <a:xfrm>
            <a:off x="16451263" y="663575"/>
            <a:ext cx="3090862" cy="254000"/>
          </a:xfrm>
          <a:custGeom>
            <a:avLst/>
            <a:gdLst>
              <a:gd name="T0" fmla="*/ 343852 w 3090544"/>
              <a:gd name="T1" fmla="*/ 175133 h 253365"/>
              <a:gd name="T2" fmla="*/ 293979 w 3090544"/>
              <a:gd name="T3" fmla="*/ 165417 h 253365"/>
              <a:gd name="T4" fmla="*/ 266420 w 3090544"/>
              <a:gd name="T5" fmla="*/ 207365 h 253365"/>
              <a:gd name="T6" fmla="*/ 293979 w 3090544"/>
              <a:gd name="T7" fmla="*/ 249301 h 253365"/>
              <a:gd name="T8" fmla="*/ 343852 w 3090544"/>
              <a:gd name="T9" fmla="*/ 239534 h 253365"/>
              <a:gd name="T10" fmla="*/ 622452 w 3090544"/>
              <a:gd name="T11" fmla="*/ 246989 h 253365"/>
              <a:gd name="T12" fmla="*/ 413931 w 3090544"/>
              <a:gd name="T13" fmla="*/ 7061 h 253365"/>
              <a:gd name="T14" fmla="*/ 75628 w 3090544"/>
              <a:gd name="T15" fmla="*/ 9728 h 253365"/>
              <a:gd name="T16" fmla="*/ 0 w 3090544"/>
              <a:gd name="T17" fmla="*/ 123494 h 253365"/>
              <a:gd name="T18" fmla="*/ 75628 w 3090544"/>
              <a:gd name="T19" fmla="*/ 237286 h 253365"/>
              <a:gd name="T20" fmla="*/ 238823 w 3090544"/>
              <a:gd name="T21" fmla="*/ 203530 h 253365"/>
              <a:gd name="T22" fmla="*/ 164350 w 3090544"/>
              <a:gd name="T23" fmla="*/ 153962 h 253365"/>
              <a:gd name="T24" fmla="*/ 181749 w 3090544"/>
              <a:gd name="T25" fmla="*/ 65608 h 253365"/>
              <a:gd name="T26" fmla="*/ 258483 w 3090544"/>
              <a:gd name="T27" fmla="*/ 44411 h 253365"/>
              <a:gd name="T28" fmla="*/ 303085 w 3090544"/>
              <a:gd name="T29" fmla="*/ 74142 h 253365"/>
              <a:gd name="T30" fmla="*/ 1268044 w 3090544"/>
              <a:gd name="T31" fmla="*/ 248894 h 253365"/>
              <a:gd name="T32" fmla="*/ 1146378 w 3090544"/>
              <a:gd name="T33" fmla="*/ 92595 h 253365"/>
              <a:gd name="T34" fmla="*/ 1023289 w 3090544"/>
              <a:gd name="T35" fmla="*/ 174459 h 253365"/>
              <a:gd name="T36" fmla="*/ 1023289 w 3090544"/>
              <a:gd name="T37" fmla="*/ 174459 h 253365"/>
              <a:gd name="T38" fmla="*/ 906818 w 3090544"/>
              <a:gd name="T39" fmla="*/ 52743 h 253365"/>
              <a:gd name="T40" fmla="*/ 864831 w 3090544"/>
              <a:gd name="T41" fmla="*/ 218249 h 253365"/>
              <a:gd name="T42" fmla="*/ 1268044 w 3090544"/>
              <a:gd name="T43" fmla="*/ 248894 h 253365"/>
              <a:gd name="T44" fmla="*/ 1706829 w 3090544"/>
              <a:gd name="T45" fmla="*/ 43764 h 253365"/>
              <a:gd name="T46" fmla="*/ 1585315 w 3090544"/>
              <a:gd name="T47" fmla="*/ 2298 h 253365"/>
              <a:gd name="T48" fmla="*/ 1564487 w 3090544"/>
              <a:gd name="T49" fmla="*/ 183870 h 253365"/>
              <a:gd name="T50" fmla="*/ 1458353 w 3090544"/>
              <a:gd name="T51" fmla="*/ 205105 h 253365"/>
              <a:gd name="T52" fmla="*/ 1538414 w 3090544"/>
              <a:gd name="T53" fmla="*/ 49377 h 253365"/>
              <a:gd name="T54" fmla="*/ 1585315 w 3090544"/>
              <a:gd name="T55" fmla="*/ 124942 h 253365"/>
              <a:gd name="T56" fmla="*/ 1301597 w 3090544"/>
              <a:gd name="T57" fmla="*/ 0 h 253365"/>
              <a:gd name="T58" fmla="*/ 1604314 w 3090544"/>
              <a:gd name="T59" fmla="*/ 245668 h 253365"/>
              <a:gd name="T60" fmla="*/ 1735251 w 3090544"/>
              <a:gd name="T61" fmla="*/ 164058 h 253365"/>
              <a:gd name="T62" fmla="*/ 2206523 w 3090544"/>
              <a:gd name="T63" fmla="*/ 157530 h 253365"/>
              <a:gd name="T64" fmla="*/ 2261095 w 3090544"/>
              <a:gd name="T65" fmla="*/ 106921 h 253365"/>
              <a:gd name="T66" fmla="*/ 2252942 w 3090544"/>
              <a:gd name="T67" fmla="*/ 43802 h 253365"/>
              <a:gd name="T68" fmla="*/ 2154047 w 3090544"/>
              <a:gd name="T69" fmla="*/ 0 h 253365"/>
              <a:gd name="T70" fmla="*/ 1977072 w 3090544"/>
              <a:gd name="T71" fmla="*/ 248894 h 253365"/>
              <a:gd name="T72" fmla="*/ 2073948 w 3090544"/>
              <a:gd name="T73" fmla="*/ 47777 h 253365"/>
              <a:gd name="T74" fmla="*/ 2104517 w 3090544"/>
              <a:gd name="T75" fmla="*/ 89331 h 253365"/>
              <a:gd name="T76" fmla="*/ 2063915 w 3090544"/>
              <a:gd name="T77" fmla="*/ 136613 h 253365"/>
              <a:gd name="T78" fmla="*/ 2081834 w 3090544"/>
              <a:gd name="T79" fmla="*/ 248894 h 253365"/>
              <a:gd name="T80" fmla="*/ 2366886 w 3090544"/>
              <a:gd name="T81" fmla="*/ 12 h 253365"/>
              <a:gd name="T82" fmla="*/ 2523629 w 3090544"/>
              <a:gd name="T83" fmla="*/ 12 h 253365"/>
              <a:gd name="T84" fmla="*/ 3032163 w 3090544"/>
              <a:gd name="T85" fmla="*/ 174459 h 253365"/>
              <a:gd name="T86" fmla="*/ 2845473 w 3090544"/>
              <a:gd name="T87" fmla="*/ 0 h 253365"/>
              <a:gd name="T88" fmla="*/ 2782201 w 3090544"/>
              <a:gd name="T89" fmla="*/ 92595 h 253365"/>
              <a:gd name="T90" fmla="*/ 2688132 w 3090544"/>
              <a:gd name="T91" fmla="*/ 0 h 253365"/>
              <a:gd name="T92" fmla="*/ 2661729 w 3090544"/>
              <a:gd name="T93" fmla="*/ 248894 h 253365"/>
              <a:gd name="T94" fmla="*/ 2902902 w 3090544"/>
              <a:gd name="T95" fmla="*/ 248894 h 25336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3090544" h="253365">
                <a:moveTo>
                  <a:pt x="357009" y="207365"/>
                </a:moveTo>
                <a:lnTo>
                  <a:pt x="353491" y="189585"/>
                </a:lnTo>
                <a:lnTo>
                  <a:pt x="343852" y="175133"/>
                </a:lnTo>
                <a:lnTo>
                  <a:pt x="329476" y="165417"/>
                </a:lnTo>
                <a:lnTo>
                  <a:pt x="311746" y="161861"/>
                </a:lnTo>
                <a:lnTo>
                  <a:pt x="293979" y="165417"/>
                </a:lnTo>
                <a:lnTo>
                  <a:pt x="279577" y="175133"/>
                </a:lnTo>
                <a:lnTo>
                  <a:pt x="269938" y="189585"/>
                </a:lnTo>
                <a:lnTo>
                  <a:pt x="266420" y="207365"/>
                </a:lnTo>
                <a:lnTo>
                  <a:pt x="269938" y="225056"/>
                </a:lnTo>
                <a:lnTo>
                  <a:pt x="279577" y="239534"/>
                </a:lnTo>
                <a:lnTo>
                  <a:pt x="293979" y="249301"/>
                </a:lnTo>
                <a:lnTo>
                  <a:pt x="311746" y="252895"/>
                </a:lnTo>
                <a:lnTo>
                  <a:pt x="329476" y="249301"/>
                </a:lnTo>
                <a:lnTo>
                  <a:pt x="343852" y="239534"/>
                </a:lnTo>
                <a:lnTo>
                  <a:pt x="353491" y="225056"/>
                </a:lnTo>
                <a:lnTo>
                  <a:pt x="357009" y="207365"/>
                </a:lnTo>
                <a:close/>
              </a:path>
              <a:path w="3090544" h="253365">
                <a:moveTo>
                  <a:pt x="622452" y="246989"/>
                </a:moveTo>
                <a:lnTo>
                  <a:pt x="493928" y="81991"/>
                </a:lnTo>
                <a:lnTo>
                  <a:pt x="469874" y="51904"/>
                </a:lnTo>
                <a:lnTo>
                  <a:pt x="413931" y="7061"/>
                </a:lnTo>
                <a:lnTo>
                  <a:pt x="377621" y="12"/>
                </a:lnTo>
                <a:lnTo>
                  <a:pt x="123710" y="12"/>
                </a:lnTo>
                <a:lnTo>
                  <a:pt x="75628" y="9728"/>
                </a:lnTo>
                <a:lnTo>
                  <a:pt x="36296" y="36195"/>
                </a:lnTo>
                <a:lnTo>
                  <a:pt x="9740" y="75450"/>
                </a:lnTo>
                <a:lnTo>
                  <a:pt x="0" y="123494"/>
                </a:lnTo>
                <a:lnTo>
                  <a:pt x="9740" y="171564"/>
                </a:lnTo>
                <a:lnTo>
                  <a:pt x="36296" y="210820"/>
                </a:lnTo>
                <a:lnTo>
                  <a:pt x="75628" y="237286"/>
                </a:lnTo>
                <a:lnTo>
                  <a:pt x="123710" y="246989"/>
                </a:lnTo>
                <a:lnTo>
                  <a:pt x="238823" y="246989"/>
                </a:lnTo>
                <a:lnTo>
                  <a:pt x="238823" y="203530"/>
                </a:lnTo>
                <a:lnTo>
                  <a:pt x="207429" y="197129"/>
                </a:lnTo>
                <a:lnTo>
                  <a:pt x="181724" y="179705"/>
                </a:lnTo>
                <a:lnTo>
                  <a:pt x="164350" y="153962"/>
                </a:lnTo>
                <a:lnTo>
                  <a:pt x="157975" y="122542"/>
                </a:lnTo>
                <a:lnTo>
                  <a:pt x="164363" y="91198"/>
                </a:lnTo>
                <a:lnTo>
                  <a:pt x="181749" y="65608"/>
                </a:lnTo>
                <a:lnTo>
                  <a:pt x="207530" y="48361"/>
                </a:lnTo>
                <a:lnTo>
                  <a:pt x="239064" y="42037"/>
                </a:lnTo>
                <a:lnTo>
                  <a:pt x="258483" y="44411"/>
                </a:lnTo>
                <a:lnTo>
                  <a:pt x="275844" y="51041"/>
                </a:lnTo>
                <a:lnTo>
                  <a:pt x="290817" y="61201"/>
                </a:lnTo>
                <a:lnTo>
                  <a:pt x="303085" y="74142"/>
                </a:lnTo>
                <a:lnTo>
                  <a:pt x="436664" y="246989"/>
                </a:lnTo>
                <a:lnTo>
                  <a:pt x="622452" y="246989"/>
                </a:lnTo>
                <a:close/>
              </a:path>
              <a:path w="3090544" h="253365">
                <a:moveTo>
                  <a:pt x="1268044" y="248894"/>
                </a:moveTo>
                <a:lnTo>
                  <a:pt x="1244193" y="218249"/>
                </a:lnTo>
                <a:lnTo>
                  <a:pt x="1210106" y="174459"/>
                </a:lnTo>
                <a:lnTo>
                  <a:pt x="1146378" y="92595"/>
                </a:lnTo>
                <a:lnTo>
                  <a:pt x="1074293" y="0"/>
                </a:lnTo>
                <a:lnTo>
                  <a:pt x="1023289" y="0"/>
                </a:lnTo>
                <a:lnTo>
                  <a:pt x="1023289" y="174459"/>
                </a:lnTo>
                <a:lnTo>
                  <a:pt x="894892" y="174459"/>
                </a:lnTo>
                <a:lnTo>
                  <a:pt x="960107" y="92595"/>
                </a:lnTo>
                <a:lnTo>
                  <a:pt x="1023289" y="174459"/>
                </a:lnTo>
                <a:lnTo>
                  <a:pt x="1023289" y="0"/>
                </a:lnTo>
                <a:lnTo>
                  <a:pt x="866051" y="0"/>
                </a:lnTo>
                <a:lnTo>
                  <a:pt x="906818" y="52743"/>
                </a:lnTo>
                <a:lnTo>
                  <a:pt x="746315" y="248894"/>
                </a:lnTo>
                <a:lnTo>
                  <a:pt x="839660" y="248894"/>
                </a:lnTo>
                <a:lnTo>
                  <a:pt x="864831" y="218249"/>
                </a:lnTo>
                <a:lnTo>
                  <a:pt x="1057160" y="218249"/>
                </a:lnTo>
                <a:lnTo>
                  <a:pt x="1080795" y="248894"/>
                </a:lnTo>
                <a:lnTo>
                  <a:pt x="1268044" y="248894"/>
                </a:lnTo>
                <a:close/>
              </a:path>
              <a:path w="3090544" h="253365">
                <a:moveTo>
                  <a:pt x="1740636" y="125158"/>
                </a:moveTo>
                <a:lnTo>
                  <a:pt x="1735315" y="86347"/>
                </a:lnTo>
                <a:lnTo>
                  <a:pt x="1706829" y="43764"/>
                </a:lnTo>
                <a:lnTo>
                  <a:pt x="1654098" y="13538"/>
                </a:lnTo>
                <a:lnTo>
                  <a:pt x="1604657" y="3365"/>
                </a:lnTo>
                <a:lnTo>
                  <a:pt x="1585315" y="2298"/>
                </a:lnTo>
                <a:lnTo>
                  <a:pt x="1585315" y="124942"/>
                </a:lnTo>
                <a:lnTo>
                  <a:pt x="1580108" y="158673"/>
                </a:lnTo>
                <a:lnTo>
                  <a:pt x="1564487" y="183870"/>
                </a:lnTo>
                <a:lnTo>
                  <a:pt x="1538516" y="199644"/>
                </a:lnTo>
                <a:lnTo>
                  <a:pt x="1502232" y="205105"/>
                </a:lnTo>
                <a:lnTo>
                  <a:pt x="1458353" y="205105"/>
                </a:lnTo>
                <a:lnTo>
                  <a:pt x="1458353" y="43764"/>
                </a:lnTo>
                <a:lnTo>
                  <a:pt x="1502232" y="43764"/>
                </a:lnTo>
                <a:lnTo>
                  <a:pt x="1538414" y="49377"/>
                </a:lnTo>
                <a:lnTo>
                  <a:pt x="1564398" y="65506"/>
                </a:lnTo>
                <a:lnTo>
                  <a:pt x="1580070" y="91059"/>
                </a:lnTo>
                <a:lnTo>
                  <a:pt x="1585315" y="124942"/>
                </a:lnTo>
                <a:lnTo>
                  <a:pt x="1585315" y="2298"/>
                </a:lnTo>
                <a:lnTo>
                  <a:pt x="1543723" y="0"/>
                </a:lnTo>
                <a:lnTo>
                  <a:pt x="1301597" y="0"/>
                </a:lnTo>
                <a:lnTo>
                  <a:pt x="1301597" y="248894"/>
                </a:lnTo>
                <a:lnTo>
                  <a:pt x="1543723" y="248894"/>
                </a:lnTo>
                <a:lnTo>
                  <a:pt x="1604314" y="245668"/>
                </a:lnTo>
                <a:lnTo>
                  <a:pt x="1653654" y="235839"/>
                </a:lnTo>
                <a:lnTo>
                  <a:pt x="1691855" y="219138"/>
                </a:lnTo>
                <a:lnTo>
                  <a:pt x="1735251" y="164058"/>
                </a:lnTo>
                <a:lnTo>
                  <a:pt x="1740636" y="125158"/>
                </a:lnTo>
                <a:close/>
              </a:path>
              <a:path w="3090544" h="253365">
                <a:moveTo>
                  <a:pt x="2277529" y="248894"/>
                </a:moveTo>
                <a:lnTo>
                  <a:pt x="2206523" y="157530"/>
                </a:lnTo>
                <a:lnTo>
                  <a:pt x="2231339" y="145008"/>
                </a:lnTo>
                <a:lnTo>
                  <a:pt x="2249703" y="127965"/>
                </a:lnTo>
                <a:lnTo>
                  <a:pt x="2261095" y="106921"/>
                </a:lnTo>
                <a:lnTo>
                  <a:pt x="2265019" y="82397"/>
                </a:lnTo>
                <a:lnTo>
                  <a:pt x="2258149" y="50393"/>
                </a:lnTo>
                <a:lnTo>
                  <a:pt x="2252942" y="43802"/>
                </a:lnTo>
                <a:lnTo>
                  <a:pt x="2237448" y="24193"/>
                </a:lnTo>
                <a:lnTo>
                  <a:pt x="2202789" y="6502"/>
                </a:lnTo>
                <a:lnTo>
                  <a:pt x="2154047" y="0"/>
                </a:lnTo>
                <a:lnTo>
                  <a:pt x="1820545" y="0"/>
                </a:lnTo>
                <a:lnTo>
                  <a:pt x="1820545" y="248894"/>
                </a:lnTo>
                <a:lnTo>
                  <a:pt x="1977072" y="248894"/>
                </a:lnTo>
                <a:lnTo>
                  <a:pt x="1977072" y="43802"/>
                </a:lnTo>
                <a:lnTo>
                  <a:pt x="2047989" y="43802"/>
                </a:lnTo>
                <a:lnTo>
                  <a:pt x="2073948" y="47777"/>
                </a:lnTo>
                <a:lnTo>
                  <a:pt x="2091486" y="58178"/>
                </a:lnTo>
                <a:lnTo>
                  <a:pt x="2101392" y="72783"/>
                </a:lnTo>
                <a:lnTo>
                  <a:pt x="2104517" y="89331"/>
                </a:lnTo>
                <a:lnTo>
                  <a:pt x="2098624" y="111201"/>
                </a:lnTo>
                <a:lnTo>
                  <a:pt x="2083714" y="127012"/>
                </a:lnTo>
                <a:lnTo>
                  <a:pt x="2063915" y="136613"/>
                </a:lnTo>
                <a:lnTo>
                  <a:pt x="2043353" y="139852"/>
                </a:lnTo>
                <a:lnTo>
                  <a:pt x="2022157" y="139852"/>
                </a:lnTo>
                <a:lnTo>
                  <a:pt x="2081834" y="248894"/>
                </a:lnTo>
                <a:lnTo>
                  <a:pt x="2277529" y="248894"/>
                </a:lnTo>
                <a:close/>
              </a:path>
              <a:path w="3090544" h="253365">
                <a:moveTo>
                  <a:pt x="2523629" y="12"/>
                </a:moveTo>
                <a:lnTo>
                  <a:pt x="2366886" y="12"/>
                </a:lnTo>
                <a:lnTo>
                  <a:pt x="2366886" y="248894"/>
                </a:lnTo>
                <a:lnTo>
                  <a:pt x="2523629" y="248894"/>
                </a:lnTo>
                <a:lnTo>
                  <a:pt x="2523629" y="12"/>
                </a:lnTo>
                <a:close/>
              </a:path>
              <a:path w="3090544" h="253365">
                <a:moveTo>
                  <a:pt x="3090049" y="248894"/>
                </a:moveTo>
                <a:lnTo>
                  <a:pt x="3066224" y="218249"/>
                </a:lnTo>
                <a:lnTo>
                  <a:pt x="3032163" y="174459"/>
                </a:lnTo>
                <a:lnTo>
                  <a:pt x="2968498" y="92595"/>
                </a:lnTo>
                <a:lnTo>
                  <a:pt x="2896476" y="0"/>
                </a:lnTo>
                <a:lnTo>
                  <a:pt x="2845473" y="0"/>
                </a:lnTo>
                <a:lnTo>
                  <a:pt x="2845473" y="174459"/>
                </a:lnTo>
                <a:lnTo>
                  <a:pt x="2716720" y="174459"/>
                </a:lnTo>
                <a:lnTo>
                  <a:pt x="2782201" y="92595"/>
                </a:lnTo>
                <a:lnTo>
                  <a:pt x="2845473" y="174459"/>
                </a:lnTo>
                <a:lnTo>
                  <a:pt x="2845473" y="0"/>
                </a:lnTo>
                <a:lnTo>
                  <a:pt x="2688132" y="0"/>
                </a:lnTo>
                <a:lnTo>
                  <a:pt x="2728988" y="52743"/>
                </a:lnTo>
                <a:lnTo>
                  <a:pt x="2568397" y="248894"/>
                </a:lnTo>
                <a:lnTo>
                  <a:pt x="2661729" y="248894"/>
                </a:lnTo>
                <a:lnTo>
                  <a:pt x="2686913" y="218249"/>
                </a:lnTo>
                <a:lnTo>
                  <a:pt x="2879267" y="218249"/>
                </a:lnTo>
                <a:lnTo>
                  <a:pt x="2902902" y="248894"/>
                </a:lnTo>
                <a:lnTo>
                  <a:pt x="3090049" y="248894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en-AU"/>
          </a:p>
        </p:txBody>
      </p:sp>
      <p:sp>
        <p:nvSpPr>
          <p:cNvPr id="10" name="object 2">
            <a:extLst>
              <a:ext uri="{FF2B5EF4-FFF2-40B4-BE49-F238E27FC236}">
                <a16:creationId xmlns:a16="http://schemas.microsoft.com/office/drawing/2014/main" id="{1C0B2A3C-5F28-F15F-20CC-7666BA9E4C64}"/>
              </a:ext>
            </a:extLst>
          </p:cNvPr>
          <p:cNvSpPr txBox="1"/>
          <p:nvPr userDrawn="1"/>
        </p:nvSpPr>
        <p:spPr>
          <a:xfrm>
            <a:off x="7143750" y="1758950"/>
            <a:ext cx="5816600" cy="1133475"/>
          </a:xfrm>
          <a:prstGeom prst="rect">
            <a:avLst/>
          </a:prstGeom>
        </p:spPr>
        <p:txBody>
          <a:bodyPr lIns="0" tIns="89535" rIns="0" bIns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it-IT" sz="2400" b="1" spc="300" dirty="0">
                <a:latin typeface="Helvetica Neue" panose="02000503000000020004" pitchFamily="2" charset="0"/>
              </a:rPr>
              <a:t>DESIGNED FOR LIVING</a:t>
            </a:r>
            <a:endParaRPr lang="it-IT" sz="2400" spc="300" dirty="0">
              <a:latin typeface="Helvetica Neue" panose="02000503000000020004" pitchFamily="2" charset="0"/>
            </a:endParaRPr>
          </a:p>
          <a:p>
            <a:pPr algn="ctr" eaLnBrk="1" fontAlgn="auto" hangingPunct="1">
              <a:spcBef>
                <a:spcPts val="975"/>
              </a:spcBef>
              <a:spcAft>
                <a:spcPts val="0"/>
              </a:spcAft>
              <a:defRPr/>
            </a:pPr>
            <a:r>
              <a:rPr lang="it-IT" sz="3550" b="1" spc="300" dirty="0">
                <a:solidFill>
                  <a:srgbClr val="666666"/>
                </a:solidFill>
                <a:latin typeface="Helvetica Neue"/>
                <a:cs typeface="Helvetica Neue"/>
              </a:rPr>
              <a:t>INTERIOR</a:t>
            </a:r>
            <a:endParaRPr lang="it-IT" sz="3550" spc="300" dirty="0">
              <a:latin typeface="Helvetica Neue"/>
              <a:cs typeface="Helvetica Neue"/>
            </a:endParaRPr>
          </a:p>
        </p:txBody>
      </p:sp>
      <p:sp>
        <p:nvSpPr>
          <p:cNvPr id="13" name="Holder 2"/>
          <p:cNvSpPr>
            <a:spLocks noGrp="1"/>
          </p:cNvSpPr>
          <p:nvPr>
            <p:ph type="ctrTitle"/>
          </p:nvPr>
        </p:nvSpPr>
        <p:spPr>
          <a:xfrm>
            <a:off x="2901201" y="7265323"/>
            <a:ext cx="7031468" cy="9144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600" b="1" i="0" u="sng">
                <a:latin typeface="Helvetica" pitchFamily="2" charset="0"/>
              </a:defRPr>
            </a:lvl1pPr>
          </a:lstStyle>
          <a:p>
            <a:endParaRPr lang="it-IT" dirty="0"/>
          </a:p>
        </p:txBody>
      </p:sp>
      <p:sp>
        <p:nvSpPr>
          <p:cNvPr id="2" name="Holder 4"/>
          <p:cNvSpPr>
            <a:spLocks noGrp="1"/>
          </p:cNvSpPr>
          <p:nvPr>
            <p:ph sz="half" idx="10"/>
          </p:nvPr>
        </p:nvSpPr>
        <p:spPr>
          <a:xfrm>
            <a:off x="10171431" y="3552992"/>
            <a:ext cx="7035060" cy="3522979"/>
          </a:xfrm>
          <a:prstGeom prst="rect">
            <a:avLst/>
          </a:prstGeom>
          <a:solidFill>
            <a:srgbClr val="E5E5E5"/>
          </a:solidFill>
        </p:spPr>
        <p:txBody>
          <a:bodyPr/>
          <a:lstStyle>
            <a:lvl1pPr>
              <a:defRPr/>
            </a:lvl1pPr>
          </a:lstStyle>
          <a:p>
            <a:endParaRPr dirty="0"/>
          </a:p>
        </p:txBody>
      </p:sp>
      <p:sp>
        <p:nvSpPr>
          <p:cNvPr id="8" name="Holder 4"/>
          <p:cNvSpPr>
            <a:spLocks noGrp="1"/>
          </p:cNvSpPr>
          <p:nvPr>
            <p:ph sz="half" idx="11"/>
          </p:nvPr>
        </p:nvSpPr>
        <p:spPr>
          <a:xfrm>
            <a:off x="2901201" y="3552992"/>
            <a:ext cx="7035060" cy="3522979"/>
          </a:xfrm>
          <a:prstGeom prst="rect">
            <a:avLst/>
          </a:prstGeom>
          <a:solidFill>
            <a:srgbClr val="E5E5E5"/>
          </a:solidFill>
        </p:spPr>
        <p:txBody>
          <a:bodyPr/>
          <a:lstStyle>
            <a:lvl1pPr>
              <a:defRPr/>
            </a:lvl1pPr>
          </a:lstStyle>
          <a:p>
            <a:endParaRPr dirty="0"/>
          </a:p>
        </p:txBody>
      </p:sp>
      <p:sp>
        <p:nvSpPr>
          <p:cNvPr id="9" name="Segnaposto testo 43"/>
          <p:cNvSpPr>
            <a:spLocks noGrp="1"/>
          </p:cNvSpPr>
          <p:nvPr>
            <p:ph type="body" sz="quarter" idx="25"/>
          </p:nvPr>
        </p:nvSpPr>
        <p:spPr>
          <a:xfrm>
            <a:off x="10171431" y="7335764"/>
            <a:ext cx="7031468" cy="400110"/>
          </a:xfrm>
        </p:spPr>
        <p:txBody>
          <a:bodyPr/>
          <a:lstStyle>
            <a:lvl1pPr>
              <a:defRPr sz="2600" b="1" i="0" u="sng">
                <a:latin typeface="Helvetica" pitchFamily="2" charset="0"/>
              </a:defRPr>
            </a:lvl1pPr>
            <a:lvl2pPr>
              <a:defRPr sz="2600" b="1" i="0">
                <a:latin typeface="Helvetica" pitchFamily="2" charset="0"/>
              </a:defRPr>
            </a:lvl2pPr>
            <a:lvl3pPr>
              <a:defRPr sz="2600" b="1" i="0">
                <a:latin typeface="Helvetica" pitchFamily="2" charset="0"/>
              </a:defRPr>
            </a:lvl3pPr>
            <a:lvl4pPr>
              <a:defRPr sz="2600" b="1" i="0">
                <a:latin typeface="Helvetica" pitchFamily="2" charset="0"/>
              </a:defRPr>
            </a:lvl4pPr>
            <a:lvl5pPr>
              <a:defRPr sz="2600" b="1" i="0">
                <a:latin typeface="Helvetica" pitchFamily="2" charset="0"/>
              </a:defRPr>
            </a:lvl5pPr>
          </a:lstStyle>
          <a:p>
            <a:pPr lvl="0"/>
            <a:endParaRPr lang="it-IT" dirty="0"/>
          </a:p>
        </p:txBody>
      </p:sp>
      <p:sp>
        <p:nvSpPr>
          <p:cNvPr id="11" name="Segnaposto testo 10"/>
          <p:cNvSpPr>
            <a:spLocks noGrp="1"/>
          </p:cNvSpPr>
          <p:nvPr>
            <p:ph type="body" sz="quarter" idx="26"/>
          </p:nvPr>
        </p:nvSpPr>
        <p:spPr>
          <a:xfrm>
            <a:off x="10171113" y="7864475"/>
            <a:ext cx="7031037" cy="458652"/>
          </a:xfrm>
        </p:spPr>
        <p:txBody>
          <a:bodyPr/>
          <a:lstStyle>
            <a:lvl1pPr marL="342900" indent="-342900">
              <a:lnSpc>
                <a:spcPct val="150000"/>
              </a:lnSpc>
              <a:buFont typeface="Arial" panose="020B0604020202020204" pitchFamily="34" charset="0"/>
              <a:buChar char="•"/>
              <a:defRPr sz="2200" b="0" i="0">
                <a:latin typeface="Helvetica" pitchFamily="2" charset="0"/>
              </a:defRPr>
            </a:lvl1pPr>
            <a:lvl2pPr marL="800100" indent="-342900">
              <a:buFont typeface="Arial" panose="020B0604020202020204" pitchFamily="34" charset="0"/>
              <a:buChar char="•"/>
              <a:defRPr sz="2200" b="0" i="0">
                <a:latin typeface="Helvetica" pitchFamily="2" charset="0"/>
              </a:defRPr>
            </a:lvl2pPr>
            <a:lvl3pPr marL="1257300" indent="-342900">
              <a:buFont typeface="Arial" panose="020B0604020202020204" pitchFamily="34" charset="0"/>
              <a:buChar char="•"/>
              <a:defRPr sz="2200" b="0" i="0">
                <a:latin typeface="Helvetica" pitchFamily="2" charset="0"/>
              </a:defRPr>
            </a:lvl3pPr>
            <a:lvl4pPr marL="1714500" indent="-342900">
              <a:buFont typeface="Arial" panose="020B0604020202020204" pitchFamily="34" charset="0"/>
              <a:buChar char="•"/>
              <a:defRPr sz="2200" b="0" i="0">
                <a:latin typeface="Helvetica" pitchFamily="2" charset="0"/>
              </a:defRPr>
            </a:lvl4pPr>
            <a:lvl5pPr marL="2171700" indent="-342900">
              <a:buFont typeface="Arial" panose="020B0604020202020204" pitchFamily="34" charset="0"/>
              <a:buChar char="•"/>
              <a:defRPr sz="2200" b="0" i="0">
                <a:latin typeface="Helvetica" pitchFamily="2" charset="0"/>
              </a:defRPr>
            </a:lvl5pPr>
          </a:lstStyle>
          <a:p>
            <a:pPr lvl="0"/>
            <a:endParaRPr lang="it-IT" dirty="0"/>
          </a:p>
        </p:txBody>
      </p:sp>
      <p:sp>
        <p:nvSpPr>
          <p:cNvPr id="12" name="Segnaposto testo 10"/>
          <p:cNvSpPr>
            <a:spLocks noGrp="1"/>
          </p:cNvSpPr>
          <p:nvPr>
            <p:ph type="body" sz="quarter" idx="27"/>
          </p:nvPr>
        </p:nvSpPr>
        <p:spPr>
          <a:xfrm>
            <a:off x="2882807" y="7864475"/>
            <a:ext cx="7031037" cy="458652"/>
          </a:xfrm>
        </p:spPr>
        <p:txBody>
          <a:bodyPr/>
          <a:lstStyle>
            <a:lvl1pPr marL="342900" indent="-342900">
              <a:lnSpc>
                <a:spcPct val="150000"/>
              </a:lnSpc>
              <a:buFont typeface="Arial" panose="020B0604020202020204" pitchFamily="34" charset="0"/>
              <a:buChar char="•"/>
              <a:defRPr sz="2200" b="0" i="0">
                <a:latin typeface="Helvetica" pitchFamily="2" charset="0"/>
              </a:defRPr>
            </a:lvl1pPr>
            <a:lvl2pPr marL="800100" indent="-342900">
              <a:buFont typeface="Arial" panose="020B0604020202020204" pitchFamily="34" charset="0"/>
              <a:buChar char="•"/>
              <a:defRPr sz="2200" b="0" i="0">
                <a:latin typeface="Helvetica" pitchFamily="2" charset="0"/>
              </a:defRPr>
            </a:lvl2pPr>
            <a:lvl3pPr marL="1257300" indent="-342900">
              <a:buFont typeface="Arial" panose="020B0604020202020204" pitchFamily="34" charset="0"/>
              <a:buChar char="•"/>
              <a:defRPr sz="2200" b="0" i="0">
                <a:latin typeface="Helvetica" pitchFamily="2" charset="0"/>
              </a:defRPr>
            </a:lvl3pPr>
            <a:lvl4pPr marL="1714500" indent="-342900">
              <a:buFont typeface="Arial" panose="020B0604020202020204" pitchFamily="34" charset="0"/>
              <a:buChar char="•"/>
              <a:defRPr sz="2200" b="0" i="0">
                <a:latin typeface="Helvetica" pitchFamily="2" charset="0"/>
              </a:defRPr>
            </a:lvl4pPr>
            <a:lvl5pPr marL="2171700" indent="-342900">
              <a:buFont typeface="Arial" panose="020B0604020202020204" pitchFamily="34" charset="0"/>
              <a:buChar char="•"/>
              <a:defRPr sz="2200" b="0" i="0">
                <a:latin typeface="Helvetica" pitchFamily="2" charset="0"/>
              </a:defRPr>
            </a:lvl5pPr>
          </a:lstStyle>
          <a:p>
            <a:pPr lvl="0"/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67967417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Predmet 1" hidden="1">
            <a:extLst>
              <a:ext uri="{FF2B5EF4-FFF2-40B4-BE49-F238E27FC236}">
                <a16:creationId xmlns:a16="http://schemas.microsoft.com/office/drawing/2014/main" id="{B043C4AE-7C5E-A5AC-EE5E-4E477BEB7FA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2" name="Predmet 1" hidden="1">
                        <a:extLst>
                          <a:ext uri="{FF2B5EF4-FFF2-40B4-BE49-F238E27FC236}">
                            <a16:creationId xmlns:a16="http://schemas.microsoft.com/office/drawing/2014/main" id="{B043C4AE-7C5E-A5AC-EE5E-4E477BEB7FAB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bg object 16">
            <a:extLst>
              <a:ext uri="{FF2B5EF4-FFF2-40B4-BE49-F238E27FC236}">
                <a16:creationId xmlns:a16="http://schemas.microsoft.com/office/drawing/2014/main" id="{08EC0872-7063-EE35-122E-03D295AF97CF}"/>
              </a:ext>
            </a:extLst>
          </p:cNvPr>
          <p:cNvSpPr>
            <a:spLocks/>
          </p:cNvSpPr>
          <p:nvPr userDrawn="1"/>
        </p:nvSpPr>
        <p:spPr bwMode="auto">
          <a:xfrm>
            <a:off x="0" y="0"/>
            <a:ext cx="20104100" cy="1546225"/>
          </a:xfrm>
          <a:custGeom>
            <a:avLst/>
            <a:gdLst>
              <a:gd name="T0" fmla="*/ 0 w 20104100"/>
              <a:gd name="T1" fmla="*/ 1530592 h 1530985"/>
              <a:gd name="T2" fmla="*/ 20104099 w 20104100"/>
              <a:gd name="T3" fmla="*/ 1530592 h 1530985"/>
              <a:gd name="T4" fmla="*/ 20104099 w 20104100"/>
              <a:gd name="T5" fmla="*/ 0 h 1530985"/>
              <a:gd name="T6" fmla="*/ 0 w 20104100"/>
              <a:gd name="T7" fmla="*/ 0 h 1530985"/>
              <a:gd name="T8" fmla="*/ 0 w 20104100"/>
              <a:gd name="T9" fmla="*/ 1530592 h 15309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0104100" h="1530985">
                <a:moveTo>
                  <a:pt x="0" y="1530592"/>
                </a:moveTo>
                <a:lnTo>
                  <a:pt x="20104099" y="1530592"/>
                </a:lnTo>
                <a:lnTo>
                  <a:pt x="20104099" y="0"/>
                </a:lnTo>
                <a:lnTo>
                  <a:pt x="0" y="0"/>
                </a:lnTo>
                <a:lnTo>
                  <a:pt x="0" y="1530592"/>
                </a:lnTo>
                <a:close/>
              </a:path>
            </a:pathLst>
          </a:custGeom>
          <a:solidFill>
            <a:srgbClr val="6F778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en-AU"/>
          </a:p>
        </p:txBody>
      </p:sp>
      <p:sp>
        <p:nvSpPr>
          <p:cNvPr id="5" name="Holder 2">
            <a:extLst>
              <a:ext uri="{FF2B5EF4-FFF2-40B4-BE49-F238E27FC236}">
                <a16:creationId xmlns:a16="http://schemas.microsoft.com/office/drawing/2014/main" id="{CD96C28D-A6DA-4268-ADBF-6F0DE70C753A}"/>
              </a:ext>
            </a:extLst>
          </p:cNvPr>
          <p:cNvSpPr txBox="1">
            <a:spLocks/>
          </p:cNvSpPr>
          <p:nvPr userDrawn="1"/>
        </p:nvSpPr>
        <p:spPr>
          <a:xfrm>
            <a:off x="3346450" y="606425"/>
            <a:ext cx="10163175" cy="400050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>
            <a:lvl1pPr>
              <a:defRPr sz="2600" b="1" i="0">
                <a:solidFill>
                  <a:schemeClr val="bg1"/>
                </a:solidFill>
                <a:latin typeface="Helvetica" pitchFamily="2" charset="0"/>
                <a:ea typeface="+mj-ea"/>
                <a:cs typeface="Helvetica Neue"/>
              </a:defRPr>
            </a:lvl1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it-IT" b="0" kern="0" spc="300" dirty="0">
                <a:latin typeface="Helvetica Light" panose="020B0403020202020204" pitchFamily="34" charset="0"/>
              </a:rPr>
              <a:t>COLLECTION</a:t>
            </a:r>
          </a:p>
        </p:txBody>
      </p:sp>
      <p:sp>
        <p:nvSpPr>
          <p:cNvPr id="6" name="Holder 2">
            <a:extLst>
              <a:ext uri="{FF2B5EF4-FFF2-40B4-BE49-F238E27FC236}">
                <a16:creationId xmlns:a16="http://schemas.microsoft.com/office/drawing/2014/main" id="{78A5E09F-6A9E-4FE5-7299-A4076808F96A}"/>
              </a:ext>
            </a:extLst>
          </p:cNvPr>
          <p:cNvSpPr txBox="1">
            <a:spLocks/>
          </p:cNvSpPr>
          <p:nvPr userDrawn="1"/>
        </p:nvSpPr>
        <p:spPr>
          <a:xfrm>
            <a:off x="679450" y="606425"/>
            <a:ext cx="2667000" cy="400050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>
            <a:lvl1pPr>
              <a:defRPr sz="2600" b="1" i="0">
                <a:solidFill>
                  <a:schemeClr val="bg1"/>
                </a:solidFill>
                <a:latin typeface="Helvetica" pitchFamily="2" charset="0"/>
                <a:ea typeface="+mj-ea"/>
                <a:cs typeface="Helvetica Neue"/>
              </a:defRPr>
            </a:lvl1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it-IT" spc="600" dirty="0"/>
              <a:t>CARAVANS</a:t>
            </a:r>
            <a:endParaRPr lang="it-IT" kern="0" spc="600" dirty="0"/>
          </a:p>
        </p:txBody>
      </p:sp>
      <p:sp>
        <p:nvSpPr>
          <p:cNvPr id="7" name="object 2">
            <a:extLst>
              <a:ext uri="{FF2B5EF4-FFF2-40B4-BE49-F238E27FC236}">
                <a16:creationId xmlns:a16="http://schemas.microsoft.com/office/drawing/2014/main" id="{4148ACDC-95DC-4FF2-B0CE-2767F914F061}"/>
              </a:ext>
            </a:extLst>
          </p:cNvPr>
          <p:cNvSpPr>
            <a:spLocks/>
          </p:cNvSpPr>
          <p:nvPr userDrawn="1"/>
        </p:nvSpPr>
        <p:spPr bwMode="auto">
          <a:xfrm>
            <a:off x="16451263" y="663575"/>
            <a:ext cx="3090862" cy="254000"/>
          </a:xfrm>
          <a:custGeom>
            <a:avLst/>
            <a:gdLst>
              <a:gd name="T0" fmla="*/ 343852 w 3090544"/>
              <a:gd name="T1" fmla="*/ 175133 h 253365"/>
              <a:gd name="T2" fmla="*/ 293979 w 3090544"/>
              <a:gd name="T3" fmla="*/ 165417 h 253365"/>
              <a:gd name="T4" fmla="*/ 266420 w 3090544"/>
              <a:gd name="T5" fmla="*/ 207365 h 253365"/>
              <a:gd name="T6" fmla="*/ 293979 w 3090544"/>
              <a:gd name="T7" fmla="*/ 249301 h 253365"/>
              <a:gd name="T8" fmla="*/ 343852 w 3090544"/>
              <a:gd name="T9" fmla="*/ 239534 h 253365"/>
              <a:gd name="T10" fmla="*/ 622452 w 3090544"/>
              <a:gd name="T11" fmla="*/ 246989 h 253365"/>
              <a:gd name="T12" fmla="*/ 413931 w 3090544"/>
              <a:gd name="T13" fmla="*/ 7061 h 253365"/>
              <a:gd name="T14" fmla="*/ 75628 w 3090544"/>
              <a:gd name="T15" fmla="*/ 9728 h 253365"/>
              <a:gd name="T16" fmla="*/ 0 w 3090544"/>
              <a:gd name="T17" fmla="*/ 123494 h 253365"/>
              <a:gd name="T18" fmla="*/ 75628 w 3090544"/>
              <a:gd name="T19" fmla="*/ 237286 h 253365"/>
              <a:gd name="T20" fmla="*/ 238823 w 3090544"/>
              <a:gd name="T21" fmla="*/ 203530 h 253365"/>
              <a:gd name="T22" fmla="*/ 164350 w 3090544"/>
              <a:gd name="T23" fmla="*/ 153962 h 253365"/>
              <a:gd name="T24" fmla="*/ 181749 w 3090544"/>
              <a:gd name="T25" fmla="*/ 65608 h 253365"/>
              <a:gd name="T26" fmla="*/ 258483 w 3090544"/>
              <a:gd name="T27" fmla="*/ 44411 h 253365"/>
              <a:gd name="T28" fmla="*/ 303085 w 3090544"/>
              <a:gd name="T29" fmla="*/ 74142 h 253365"/>
              <a:gd name="T30" fmla="*/ 1268044 w 3090544"/>
              <a:gd name="T31" fmla="*/ 248894 h 253365"/>
              <a:gd name="T32" fmla="*/ 1146378 w 3090544"/>
              <a:gd name="T33" fmla="*/ 92595 h 253365"/>
              <a:gd name="T34" fmla="*/ 1023289 w 3090544"/>
              <a:gd name="T35" fmla="*/ 174459 h 253365"/>
              <a:gd name="T36" fmla="*/ 1023289 w 3090544"/>
              <a:gd name="T37" fmla="*/ 174459 h 253365"/>
              <a:gd name="T38" fmla="*/ 906818 w 3090544"/>
              <a:gd name="T39" fmla="*/ 52743 h 253365"/>
              <a:gd name="T40" fmla="*/ 864831 w 3090544"/>
              <a:gd name="T41" fmla="*/ 218249 h 253365"/>
              <a:gd name="T42" fmla="*/ 1268044 w 3090544"/>
              <a:gd name="T43" fmla="*/ 248894 h 253365"/>
              <a:gd name="T44" fmla="*/ 1706829 w 3090544"/>
              <a:gd name="T45" fmla="*/ 43764 h 253365"/>
              <a:gd name="T46" fmla="*/ 1585315 w 3090544"/>
              <a:gd name="T47" fmla="*/ 2298 h 253365"/>
              <a:gd name="T48" fmla="*/ 1564487 w 3090544"/>
              <a:gd name="T49" fmla="*/ 183870 h 253365"/>
              <a:gd name="T50" fmla="*/ 1458353 w 3090544"/>
              <a:gd name="T51" fmla="*/ 205105 h 253365"/>
              <a:gd name="T52" fmla="*/ 1538414 w 3090544"/>
              <a:gd name="T53" fmla="*/ 49377 h 253365"/>
              <a:gd name="T54" fmla="*/ 1585315 w 3090544"/>
              <a:gd name="T55" fmla="*/ 124942 h 253365"/>
              <a:gd name="T56" fmla="*/ 1301597 w 3090544"/>
              <a:gd name="T57" fmla="*/ 0 h 253365"/>
              <a:gd name="T58" fmla="*/ 1604314 w 3090544"/>
              <a:gd name="T59" fmla="*/ 245668 h 253365"/>
              <a:gd name="T60" fmla="*/ 1735251 w 3090544"/>
              <a:gd name="T61" fmla="*/ 164058 h 253365"/>
              <a:gd name="T62" fmla="*/ 2206523 w 3090544"/>
              <a:gd name="T63" fmla="*/ 157530 h 253365"/>
              <a:gd name="T64" fmla="*/ 2261095 w 3090544"/>
              <a:gd name="T65" fmla="*/ 106921 h 253365"/>
              <a:gd name="T66" fmla="*/ 2252942 w 3090544"/>
              <a:gd name="T67" fmla="*/ 43802 h 253365"/>
              <a:gd name="T68" fmla="*/ 2154047 w 3090544"/>
              <a:gd name="T69" fmla="*/ 0 h 253365"/>
              <a:gd name="T70" fmla="*/ 1977072 w 3090544"/>
              <a:gd name="T71" fmla="*/ 248894 h 253365"/>
              <a:gd name="T72" fmla="*/ 2073948 w 3090544"/>
              <a:gd name="T73" fmla="*/ 47777 h 253365"/>
              <a:gd name="T74" fmla="*/ 2104517 w 3090544"/>
              <a:gd name="T75" fmla="*/ 89331 h 253365"/>
              <a:gd name="T76" fmla="*/ 2063915 w 3090544"/>
              <a:gd name="T77" fmla="*/ 136613 h 253365"/>
              <a:gd name="T78" fmla="*/ 2081834 w 3090544"/>
              <a:gd name="T79" fmla="*/ 248894 h 253365"/>
              <a:gd name="T80" fmla="*/ 2366886 w 3090544"/>
              <a:gd name="T81" fmla="*/ 12 h 253365"/>
              <a:gd name="T82" fmla="*/ 2523629 w 3090544"/>
              <a:gd name="T83" fmla="*/ 12 h 253365"/>
              <a:gd name="T84" fmla="*/ 3032163 w 3090544"/>
              <a:gd name="T85" fmla="*/ 174459 h 253365"/>
              <a:gd name="T86" fmla="*/ 2845473 w 3090544"/>
              <a:gd name="T87" fmla="*/ 0 h 253365"/>
              <a:gd name="T88" fmla="*/ 2782201 w 3090544"/>
              <a:gd name="T89" fmla="*/ 92595 h 253365"/>
              <a:gd name="T90" fmla="*/ 2688132 w 3090544"/>
              <a:gd name="T91" fmla="*/ 0 h 253365"/>
              <a:gd name="T92" fmla="*/ 2661729 w 3090544"/>
              <a:gd name="T93" fmla="*/ 248894 h 253365"/>
              <a:gd name="T94" fmla="*/ 2902902 w 3090544"/>
              <a:gd name="T95" fmla="*/ 248894 h 25336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3090544" h="253365">
                <a:moveTo>
                  <a:pt x="357009" y="207365"/>
                </a:moveTo>
                <a:lnTo>
                  <a:pt x="353491" y="189585"/>
                </a:lnTo>
                <a:lnTo>
                  <a:pt x="343852" y="175133"/>
                </a:lnTo>
                <a:lnTo>
                  <a:pt x="329476" y="165417"/>
                </a:lnTo>
                <a:lnTo>
                  <a:pt x="311746" y="161861"/>
                </a:lnTo>
                <a:lnTo>
                  <a:pt x="293979" y="165417"/>
                </a:lnTo>
                <a:lnTo>
                  <a:pt x="279577" y="175133"/>
                </a:lnTo>
                <a:lnTo>
                  <a:pt x="269938" y="189585"/>
                </a:lnTo>
                <a:lnTo>
                  <a:pt x="266420" y="207365"/>
                </a:lnTo>
                <a:lnTo>
                  <a:pt x="269938" y="225056"/>
                </a:lnTo>
                <a:lnTo>
                  <a:pt x="279577" y="239534"/>
                </a:lnTo>
                <a:lnTo>
                  <a:pt x="293979" y="249301"/>
                </a:lnTo>
                <a:lnTo>
                  <a:pt x="311746" y="252895"/>
                </a:lnTo>
                <a:lnTo>
                  <a:pt x="329476" y="249301"/>
                </a:lnTo>
                <a:lnTo>
                  <a:pt x="343852" y="239534"/>
                </a:lnTo>
                <a:lnTo>
                  <a:pt x="353491" y="225056"/>
                </a:lnTo>
                <a:lnTo>
                  <a:pt x="357009" y="207365"/>
                </a:lnTo>
                <a:close/>
              </a:path>
              <a:path w="3090544" h="253365">
                <a:moveTo>
                  <a:pt x="622452" y="246989"/>
                </a:moveTo>
                <a:lnTo>
                  <a:pt x="493928" y="81991"/>
                </a:lnTo>
                <a:lnTo>
                  <a:pt x="469874" y="51904"/>
                </a:lnTo>
                <a:lnTo>
                  <a:pt x="413931" y="7061"/>
                </a:lnTo>
                <a:lnTo>
                  <a:pt x="377621" y="12"/>
                </a:lnTo>
                <a:lnTo>
                  <a:pt x="123710" y="12"/>
                </a:lnTo>
                <a:lnTo>
                  <a:pt x="75628" y="9728"/>
                </a:lnTo>
                <a:lnTo>
                  <a:pt x="36296" y="36195"/>
                </a:lnTo>
                <a:lnTo>
                  <a:pt x="9740" y="75450"/>
                </a:lnTo>
                <a:lnTo>
                  <a:pt x="0" y="123494"/>
                </a:lnTo>
                <a:lnTo>
                  <a:pt x="9740" y="171564"/>
                </a:lnTo>
                <a:lnTo>
                  <a:pt x="36296" y="210820"/>
                </a:lnTo>
                <a:lnTo>
                  <a:pt x="75628" y="237286"/>
                </a:lnTo>
                <a:lnTo>
                  <a:pt x="123710" y="246989"/>
                </a:lnTo>
                <a:lnTo>
                  <a:pt x="238823" y="246989"/>
                </a:lnTo>
                <a:lnTo>
                  <a:pt x="238823" y="203530"/>
                </a:lnTo>
                <a:lnTo>
                  <a:pt x="207429" y="197129"/>
                </a:lnTo>
                <a:lnTo>
                  <a:pt x="181724" y="179705"/>
                </a:lnTo>
                <a:lnTo>
                  <a:pt x="164350" y="153962"/>
                </a:lnTo>
                <a:lnTo>
                  <a:pt x="157975" y="122542"/>
                </a:lnTo>
                <a:lnTo>
                  <a:pt x="164363" y="91198"/>
                </a:lnTo>
                <a:lnTo>
                  <a:pt x="181749" y="65608"/>
                </a:lnTo>
                <a:lnTo>
                  <a:pt x="207530" y="48361"/>
                </a:lnTo>
                <a:lnTo>
                  <a:pt x="239064" y="42037"/>
                </a:lnTo>
                <a:lnTo>
                  <a:pt x="258483" y="44411"/>
                </a:lnTo>
                <a:lnTo>
                  <a:pt x="275844" y="51041"/>
                </a:lnTo>
                <a:lnTo>
                  <a:pt x="290817" y="61201"/>
                </a:lnTo>
                <a:lnTo>
                  <a:pt x="303085" y="74142"/>
                </a:lnTo>
                <a:lnTo>
                  <a:pt x="436664" y="246989"/>
                </a:lnTo>
                <a:lnTo>
                  <a:pt x="622452" y="246989"/>
                </a:lnTo>
                <a:close/>
              </a:path>
              <a:path w="3090544" h="253365">
                <a:moveTo>
                  <a:pt x="1268044" y="248894"/>
                </a:moveTo>
                <a:lnTo>
                  <a:pt x="1244193" y="218249"/>
                </a:lnTo>
                <a:lnTo>
                  <a:pt x="1210106" y="174459"/>
                </a:lnTo>
                <a:lnTo>
                  <a:pt x="1146378" y="92595"/>
                </a:lnTo>
                <a:lnTo>
                  <a:pt x="1074293" y="0"/>
                </a:lnTo>
                <a:lnTo>
                  <a:pt x="1023289" y="0"/>
                </a:lnTo>
                <a:lnTo>
                  <a:pt x="1023289" y="174459"/>
                </a:lnTo>
                <a:lnTo>
                  <a:pt x="894892" y="174459"/>
                </a:lnTo>
                <a:lnTo>
                  <a:pt x="960107" y="92595"/>
                </a:lnTo>
                <a:lnTo>
                  <a:pt x="1023289" y="174459"/>
                </a:lnTo>
                <a:lnTo>
                  <a:pt x="1023289" y="0"/>
                </a:lnTo>
                <a:lnTo>
                  <a:pt x="866051" y="0"/>
                </a:lnTo>
                <a:lnTo>
                  <a:pt x="906818" y="52743"/>
                </a:lnTo>
                <a:lnTo>
                  <a:pt x="746315" y="248894"/>
                </a:lnTo>
                <a:lnTo>
                  <a:pt x="839660" y="248894"/>
                </a:lnTo>
                <a:lnTo>
                  <a:pt x="864831" y="218249"/>
                </a:lnTo>
                <a:lnTo>
                  <a:pt x="1057160" y="218249"/>
                </a:lnTo>
                <a:lnTo>
                  <a:pt x="1080795" y="248894"/>
                </a:lnTo>
                <a:lnTo>
                  <a:pt x="1268044" y="248894"/>
                </a:lnTo>
                <a:close/>
              </a:path>
              <a:path w="3090544" h="253365">
                <a:moveTo>
                  <a:pt x="1740636" y="125158"/>
                </a:moveTo>
                <a:lnTo>
                  <a:pt x="1735315" y="86347"/>
                </a:lnTo>
                <a:lnTo>
                  <a:pt x="1706829" y="43764"/>
                </a:lnTo>
                <a:lnTo>
                  <a:pt x="1654098" y="13538"/>
                </a:lnTo>
                <a:lnTo>
                  <a:pt x="1604657" y="3365"/>
                </a:lnTo>
                <a:lnTo>
                  <a:pt x="1585315" y="2298"/>
                </a:lnTo>
                <a:lnTo>
                  <a:pt x="1585315" y="124942"/>
                </a:lnTo>
                <a:lnTo>
                  <a:pt x="1580108" y="158673"/>
                </a:lnTo>
                <a:lnTo>
                  <a:pt x="1564487" y="183870"/>
                </a:lnTo>
                <a:lnTo>
                  <a:pt x="1538516" y="199644"/>
                </a:lnTo>
                <a:lnTo>
                  <a:pt x="1502232" y="205105"/>
                </a:lnTo>
                <a:lnTo>
                  <a:pt x="1458353" y="205105"/>
                </a:lnTo>
                <a:lnTo>
                  <a:pt x="1458353" y="43764"/>
                </a:lnTo>
                <a:lnTo>
                  <a:pt x="1502232" y="43764"/>
                </a:lnTo>
                <a:lnTo>
                  <a:pt x="1538414" y="49377"/>
                </a:lnTo>
                <a:lnTo>
                  <a:pt x="1564398" y="65506"/>
                </a:lnTo>
                <a:lnTo>
                  <a:pt x="1580070" y="91059"/>
                </a:lnTo>
                <a:lnTo>
                  <a:pt x="1585315" y="124942"/>
                </a:lnTo>
                <a:lnTo>
                  <a:pt x="1585315" y="2298"/>
                </a:lnTo>
                <a:lnTo>
                  <a:pt x="1543723" y="0"/>
                </a:lnTo>
                <a:lnTo>
                  <a:pt x="1301597" y="0"/>
                </a:lnTo>
                <a:lnTo>
                  <a:pt x="1301597" y="248894"/>
                </a:lnTo>
                <a:lnTo>
                  <a:pt x="1543723" y="248894"/>
                </a:lnTo>
                <a:lnTo>
                  <a:pt x="1604314" y="245668"/>
                </a:lnTo>
                <a:lnTo>
                  <a:pt x="1653654" y="235839"/>
                </a:lnTo>
                <a:lnTo>
                  <a:pt x="1691855" y="219138"/>
                </a:lnTo>
                <a:lnTo>
                  <a:pt x="1735251" y="164058"/>
                </a:lnTo>
                <a:lnTo>
                  <a:pt x="1740636" y="125158"/>
                </a:lnTo>
                <a:close/>
              </a:path>
              <a:path w="3090544" h="253365">
                <a:moveTo>
                  <a:pt x="2277529" y="248894"/>
                </a:moveTo>
                <a:lnTo>
                  <a:pt x="2206523" y="157530"/>
                </a:lnTo>
                <a:lnTo>
                  <a:pt x="2231339" y="145008"/>
                </a:lnTo>
                <a:lnTo>
                  <a:pt x="2249703" y="127965"/>
                </a:lnTo>
                <a:lnTo>
                  <a:pt x="2261095" y="106921"/>
                </a:lnTo>
                <a:lnTo>
                  <a:pt x="2265019" y="82397"/>
                </a:lnTo>
                <a:lnTo>
                  <a:pt x="2258149" y="50393"/>
                </a:lnTo>
                <a:lnTo>
                  <a:pt x="2252942" y="43802"/>
                </a:lnTo>
                <a:lnTo>
                  <a:pt x="2237448" y="24193"/>
                </a:lnTo>
                <a:lnTo>
                  <a:pt x="2202789" y="6502"/>
                </a:lnTo>
                <a:lnTo>
                  <a:pt x="2154047" y="0"/>
                </a:lnTo>
                <a:lnTo>
                  <a:pt x="1820545" y="0"/>
                </a:lnTo>
                <a:lnTo>
                  <a:pt x="1820545" y="248894"/>
                </a:lnTo>
                <a:lnTo>
                  <a:pt x="1977072" y="248894"/>
                </a:lnTo>
                <a:lnTo>
                  <a:pt x="1977072" y="43802"/>
                </a:lnTo>
                <a:lnTo>
                  <a:pt x="2047989" y="43802"/>
                </a:lnTo>
                <a:lnTo>
                  <a:pt x="2073948" y="47777"/>
                </a:lnTo>
                <a:lnTo>
                  <a:pt x="2091486" y="58178"/>
                </a:lnTo>
                <a:lnTo>
                  <a:pt x="2101392" y="72783"/>
                </a:lnTo>
                <a:lnTo>
                  <a:pt x="2104517" y="89331"/>
                </a:lnTo>
                <a:lnTo>
                  <a:pt x="2098624" y="111201"/>
                </a:lnTo>
                <a:lnTo>
                  <a:pt x="2083714" y="127012"/>
                </a:lnTo>
                <a:lnTo>
                  <a:pt x="2063915" y="136613"/>
                </a:lnTo>
                <a:lnTo>
                  <a:pt x="2043353" y="139852"/>
                </a:lnTo>
                <a:lnTo>
                  <a:pt x="2022157" y="139852"/>
                </a:lnTo>
                <a:lnTo>
                  <a:pt x="2081834" y="248894"/>
                </a:lnTo>
                <a:lnTo>
                  <a:pt x="2277529" y="248894"/>
                </a:lnTo>
                <a:close/>
              </a:path>
              <a:path w="3090544" h="253365">
                <a:moveTo>
                  <a:pt x="2523629" y="12"/>
                </a:moveTo>
                <a:lnTo>
                  <a:pt x="2366886" y="12"/>
                </a:lnTo>
                <a:lnTo>
                  <a:pt x="2366886" y="248894"/>
                </a:lnTo>
                <a:lnTo>
                  <a:pt x="2523629" y="248894"/>
                </a:lnTo>
                <a:lnTo>
                  <a:pt x="2523629" y="12"/>
                </a:lnTo>
                <a:close/>
              </a:path>
              <a:path w="3090544" h="253365">
                <a:moveTo>
                  <a:pt x="3090049" y="248894"/>
                </a:moveTo>
                <a:lnTo>
                  <a:pt x="3066224" y="218249"/>
                </a:lnTo>
                <a:lnTo>
                  <a:pt x="3032163" y="174459"/>
                </a:lnTo>
                <a:lnTo>
                  <a:pt x="2968498" y="92595"/>
                </a:lnTo>
                <a:lnTo>
                  <a:pt x="2896476" y="0"/>
                </a:lnTo>
                <a:lnTo>
                  <a:pt x="2845473" y="0"/>
                </a:lnTo>
                <a:lnTo>
                  <a:pt x="2845473" y="174459"/>
                </a:lnTo>
                <a:lnTo>
                  <a:pt x="2716720" y="174459"/>
                </a:lnTo>
                <a:lnTo>
                  <a:pt x="2782201" y="92595"/>
                </a:lnTo>
                <a:lnTo>
                  <a:pt x="2845473" y="174459"/>
                </a:lnTo>
                <a:lnTo>
                  <a:pt x="2845473" y="0"/>
                </a:lnTo>
                <a:lnTo>
                  <a:pt x="2688132" y="0"/>
                </a:lnTo>
                <a:lnTo>
                  <a:pt x="2728988" y="52743"/>
                </a:lnTo>
                <a:lnTo>
                  <a:pt x="2568397" y="248894"/>
                </a:lnTo>
                <a:lnTo>
                  <a:pt x="2661729" y="248894"/>
                </a:lnTo>
                <a:lnTo>
                  <a:pt x="2686913" y="218249"/>
                </a:lnTo>
                <a:lnTo>
                  <a:pt x="2879267" y="218249"/>
                </a:lnTo>
                <a:lnTo>
                  <a:pt x="2902902" y="248894"/>
                </a:lnTo>
                <a:lnTo>
                  <a:pt x="3090049" y="248894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en-AU"/>
          </a:p>
        </p:txBody>
      </p:sp>
      <p:sp>
        <p:nvSpPr>
          <p:cNvPr id="9" name="object 2">
            <a:extLst>
              <a:ext uri="{FF2B5EF4-FFF2-40B4-BE49-F238E27FC236}">
                <a16:creationId xmlns:a16="http://schemas.microsoft.com/office/drawing/2014/main" id="{604BA683-B348-F939-5880-A618BF81583C}"/>
              </a:ext>
            </a:extLst>
          </p:cNvPr>
          <p:cNvSpPr txBox="1"/>
          <p:nvPr userDrawn="1"/>
        </p:nvSpPr>
        <p:spPr>
          <a:xfrm>
            <a:off x="5835650" y="1758950"/>
            <a:ext cx="8432800" cy="1133475"/>
          </a:xfrm>
          <a:prstGeom prst="rect">
            <a:avLst/>
          </a:prstGeom>
        </p:spPr>
        <p:txBody>
          <a:bodyPr lIns="0" tIns="89535" rIns="0" bIns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it-IT" sz="2400" b="1" spc="300" dirty="0">
                <a:latin typeface="Helvetica Neue" panose="02000503000000020004" pitchFamily="2" charset="0"/>
              </a:rPr>
              <a:t>DESIGNED TO PERFORM</a:t>
            </a:r>
            <a:endParaRPr lang="it-IT" sz="2400" spc="300" dirty="0">
              <a:latin typeface="Helvetica Neue" panose="02000503000000020004" pitchFamily="2" charset="0"/>
            </a:endParaRPr>
          </a:p>
          <a:p>
            <a:pPr algn="ctr" eaLnBrk="1" fontAlgn="auto" hangingPunct="1">
              <a:spcBef>
                <a:spcPts val="975"/>
              </a:spcBef>
              <a:spcAft>
                <a:spcPts val="0"/>
              </a:spcAft>
              <a:defRPr/>
            </a:pPr>
            <a:r>
              <a:rPr lang="it-IT" sz="3550" b="1" spc="300" dirty="0">
                <a:solidFill>
                  <a:srgbClr val="666666"/>
                </a:solidFill>
                <a:latin typeface="Helvetica Neue"/>
                <a:cs typeface="Helvetica Neue"/>
              </a:rPr>
              <a:t>BASE VEHICLE HIGHLIGHTS</a:t>
            </a:r>
            <a:endParaRPr lang="it-IT" sz="3550" spc="300" dirty="0">
              <a:latin typeface="Helvetica Neue"/>
              <a:cs typeface="Helvetica Neue"/>
            </a:endParaRPr>
          </a:p>
        </p:txBody>
      </p:sp>
      <p:sp>
        <p:nvSpPr>
          <p:cNvPr id="10" name="object 4">
            <a:extLst>
              <a:ext uri="{FF2B5EF4-FFF2-40B4-BE49-F238E27FC236}">
                <a16:creationId xmlns:a16="http://schemas.microsoft.com/office/drawing/2014/main" id="{AE64BDD1-6157-749F-C114-3985D0FC1515}"/>
              </a:ext>
            </a:extLst>
          </p:cNvPr>
          <p:cNvSpPr>
            <a:spLocks/>
          </p:cNvSpPr>
          <p:nvPr userDrawn="1"/>
        </p:nvSpPr>
        <p:spPr bwMode="auto">
          <a:xfrm>
            <a:off x="1362075" y="2257425"/>
            <a:ext cx="1338263" cy="1336675"/>
          </a:xfrm>
          <a:custGeom>
            <a:avLst/>
            <a:gdLst>
              <a:gd name="T0" fmla="*/ 620906 w 1337945"/>
              <a:gd name="T1" fmla="*/ 1678 h 1337945"/>
              <a:gd name="T2" fmla="*/ 528231 w 1337945"/>
              <a:gd name="T3" fmla="*/ 14770 h 1337945"/>
              <a:gd name="T4" fmla="*/ 440086 w 1337945"/>
              <a:gd name="T5" fmla="*/ 40086 h 1337945"/>
              <a:gd name="T6" fmla="*/ 357376 w 1337945"/>
              <a:gd name="T7" fmla="*/ 76722 h 1337945"/>
              <a:gd name="T8" fmla="*/ 281008 w 1337945"/>
              <a:gd name="T9" fmla="*/ 123771 h 1337945"/>
              <a:gd name="T10" fmla="*/ 211885 w 1337945"/>
              <a:gd name="T11" fmla="*/ 180329 h 1337945"/>
              <a:gd name="T12" fmla="*/ 150914 w 1337945"/>
              <a:gd name="T13" fmla="*/ 245491 h 1337945"/>
              <a:gd name="T14" fmla="*/ 98998 w 1337945"/>
              <a:gd name="T15" fmla="*/ 318351 h 1337945"/>
              <a:gd name="T16" fmla="*/ 57044 w 1337945"/>
              <a:gd name="T17" fmla="*/ 398004 h 1337945"/>
              <a:gd name="T18" fmla="*/ 25956 w 1337945"/>
              <a:gd name="T19" fmla="*/ 483545 h 1337945"/>
              <a:gd name="T20" fmla="*/ 6639 w 1337945"/>
              <a:gd name="T21" fmla="*/ 574069 h 1337945"/>
              <a:gd name="T22" fmla="*/ 0 w 1337945"/>
              <a:gd name="T23" fmla="*/ 668670 h 1337945"/>
              <a:gd name="T24" fmla="*/ 6639 w 1337945"/>
              <a:gd name="T25" fmla="*/ 763269 h 1337945"/>
              <a:gd name="T26" fmla="*/ 25956 w 1337945"/>
              <a:gd name="T27" fmla="*/ 853791 h 1337945"/>
              <a:gd name="T28" fmla="*/ 57044 w 1337945"/>
              <a:gd name="T29" fmla="*/ 939330 h 1337945"/>
              <a:gd name="T30" fmla="*/ 98998 w 1337945"/>
              <a:gd name="T31" fmla="*/ 1018982 h 1337945"/>
              <a:gd name="T32" fmla="*/ 150914 w 1337945"/>
              <a:gd name="T33" fmla="*/ 1091841 h 1337945"/>
              <a:gd name="T34" fmla="*/ 211885 w 1337945"/>
              <a:gd name="T35" fmla="*/ 1157002 h 1337945"/>
              <a:gd name="T36" fmla="*/ 281008 w 1337945"/>
              <a:gd name="T37" fmla="*/ 1213560 h 1337945"/>
              <a:gd name="T38" fmla="*/ 357376 w 1337945"/>
              <a:gd name="T39" fmla="*/ 1260609 h 1337945"/>
              <a:gd name="T40" fmla="*/ 440086 w 1337945"/>
              <a:gd name="T41" fmla="*/ 1297244 h 1337945"/>
              <a:gd name="T42" fmla="*/ 528231 w 1337945"/>
              <a:gd name="T43" fmla="*/ 1322560 h 1337945"/>
              <a:gd name="T44" fmla="*/ 620906 w 1337945"/>
              <a:gd name="T45" fmla="*/ 1335652 h 1337945"/>
              <a:gd name="T46" fmla="*/ 716412 w 1337945"/>
              <a:gd name="T47" fmla="*/ 1335652 h 1337945"/>
              <a:gd name="T48" fmla="*/ 809086 w 1337945"/>
              <a:gd name="T49" fmla="*/ 1322560 h 1337945"/>
              <a:gd name="T50" fmla="*/ 897230 w 1337945"/>
              <a:gd name="T51" fmla="*/ 1297244 h 1337945"/>
              <a:gd name="T52" fmla="*/ 979938 w 1337945"/>
              <a:gd name="T53" fmla="*/ 1260609 h 1337945"/>
              <a:gd name="T54" fmla="*/ 1056307 w 1337945"/>
              <a:gd name="T55" fmla="*/ 1213560 h 1337945"/>
              <a:gd name="T56" fmla="*/ 1125430 w 1337945"/>
              <a:gd name="T57" fmla="*/ 1157002 h 1337945"/>
              <a:gd name="T58" fmla="*/ 1186402 w 1337945"/>
              <a:gd name="T59" fmla="*/ 1091841 h 1337945"/>
              <a:gd name="T60" fmla="*/ 1238319 w 1337945"/>
              <a:gd name="T61" fmla="*/ 1018982 h 1337945"/>
              <a:gd name="T62" fmla="*/ 1280274 w 1337945"/>
              <a:gd name="T63" fmla="*/ 939330 h 1337945"/>
              <a:gd name="T64" fmla="*/ 1311363 w 1337945"/>
              <a:gd name="T65" fmla="*/ 853791 h 1337945"/>
              <a:gd name="T66" fmla="*/ 1330680 w 1337945"/>
              <a:gd name="T67" fmla="*/ 763269 h 1337945"/>
              <a:gd name="T68" fmla="*/ 1337320 w 1337945"/>
              <a:gd name="T69" fmla="*/ 668670 h 1337945"/>
              <a:gd name="T70" fmla="*/ 1330680 w 1337945"/>
              <a:gd name="T71" fmla="*/ 574069 h 1337945"/>
              <a:gd name="T72" fmla="*/ 1311363 w 1337945"/>
              <a:gd name="T73" fmla="*/ 483545 h 1337945"/>
              <a:gd name="T74" fmla="*/ 1280274 w 1337945"/>
              <a:gd name="T75" fmla="*/ 398004 h 1337945"/>
              <a:gd name="T76" fmla="*/ 1238319 w 1337945"/>
              <a:gd name="T77" fmla="*/ 318351 h 1337945"/>
              <a:gd name="T78" fmla="*/ 1186402 w 1337945"/>
              <a:gd name="T79" fmla="*/ 245491 h 1337945"/>
              <a:gd name="T80" fmla="*/ 1125430 w 1337945"/>
              <a:gd name="T81" fmla="*/ 180329 h 1337945"/>
              <a:gd name="T82" fmla="*/ 1056307 w 1337945"/>
              <a:gd name="T83" fmla="*/ 123771 h 1337945"/>
              <a:gd name="T84" fmla="*/ 979938 w 1337945"/>
              <a:gd name="T85" fmla="*/ 76722 h 1337945"/>
              <a:gd name="T86" fmla="*/ 897230 w 1337945"/>
              <a:gd name="T87" fmla="*/ 40086 h 1337945"/>
              <a:gd name="T88" fmla="*/ 809086 w 1337945"/>
              <a:gd name="T89" fmla="*/ 14770 h 1337945"/>
              <a:gd name="T90" fmla="*/ 716412 w 1337945"/>
              <a:gd name="T91" fmla="*/ 1678 h 13379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1337945" h="1337945">
                <a:moveTo>
                  <a:pt x="668660" y="0"/>
                </a:moveTo>
                <a:lnTo>
                  <a:pt x="620906" y="1678"/>
                </a:lnTo>
                <a:lnTo>
                  <a:pt x="574059" y="6640"/>
                </a:lnTo>
                <a:lnTo>
                  <a:pt x="528231" y="14770"/>
                </a:lnTo>
                <a:lnTo>
                  <a:pt x="483535" y="25957"/>
                </a:lnTo>
                <a:lnTo>
                  <a:pt x="440086" y="40086"/>
                </a:lnTo>
                <a:lnTo>
                  <a:pt x="397995" y="57046"/>
                </a:lnTo>
                <a:lnTo>
                  <a:pt x="357376" y="76722"/>
                </a:lnTo>
                <a:lnTo>
                  <a:pt x="318343" y="99001"/>
                </a:lnTo>
                <a:lnTo>
                  <a:pt x="281008" y="123771"/>
                </a:lnTo>
                <a:lnTo>
                  <a:pt x="245484" y="150918"/>
                </a:lnTo>
                <a:lnTo>
                  <a:pt x="211885" y="180329"/>
                </a:lnTo>
                <a:lnTo>
                  <a:pt x="180324" y="211891"/>
                </a:lnTo>
                <a:lnTo>
                  <a:pt x="150914" y="245491"/>
                </a:lnTo>
                <a:lnTo>
                  <a:pt x="123767" y="281015"/>
                </a:lnTo>
                <a:lnTo>
                  <a:pt x="98998" y="318351"/>
                </a:lnTo>
                <a:lnTo>
                  <a:pt x="76719" y="357385"/>
                </a:lnTo>
                <a:lnTo>
                  <a:pt x="57044" y="398004"/>
                </a:lnTo>
                <a:lnTo>
                  <a:pt x="40085" y="440095"/>
                </a:lnTo>
                <a:lnTo>
                  <a:pt x="25956" y="483545"/>
                </a:lnTo>
                <a:lnTo>
                  <a:pt x="14770" y="528241"/>
                </a:lnTo>
                <a:lnTo>
                  <a:pt x="6639" y="574069"/>
                </a:lnTo>
                <a:lnTo>
                  <a:pt x="1678" y="620916"/>
                </a:lnTo>
                <a:lnTo>
                  <a:pt x="0" y="668670"/>
                </a:lnTo>
                <a:lnTo>
                  <a:pt x="1678" y="716423"/>
                </a:lnTo>
                <a:lnTo>
                  <a:pt x="6639" y="763269"/>
                </a:lnTo>
                <a:lnTo>
                  <a:pt x="14770" y="809096"/>
                </a:lnTo>
                <a:lnTo>
                  <a:pt x="25956" y="853791"/>
                </a:lnTo>
                <a:lnTo>
                  <a:pt x="40085" y="897240"/>
                </a:lnTo>
                <a:lnTo>
                  <a:pt x="57044" y="939330"/>
                </a:lnTo>
                <a:lnTo>
                  <a:pt x="76719" y="979949"/>
                </a:lnTo>
                <a:lnTo>
                  <a:pt x="98998" y="1018982"/>
                </a:lnTo>
                <a:lnTo>
                  <a:pt x="123767" y="1056317"/>
                </a:lnTo>
                <a:lnTo>
                  <a:pt x="150914" y="1091841"/>
                </a:lnTo>
                <a:lnTo>
                  <a:pt x="180324" y="1125440"/>
                </a:lnTo>
                <a:lnTo>
                  <a:pt x="211885" y="1157002"/>
                </a:lnTo>
                <a:lnTo>
                  <a:pt x="245484" y="1186413"/>
                </a:lnTo>
                <a:lnTo>
                  <a:pt x="281008" y="1213560"/>
                </a:lnTo>
                <a:lnTo>
                  <a:pt x="318343" y="1238329"/>
                </a:lnTo>
                <a:lnTo>
                  <a:pt x="357376" y="1260609"/>
                </a:lnTo>
                <a:lnTo>
                  <a:pt x="397995" y="1280284"/>
                </a:lnTo>
                <a:lnTo>
                  <a:pt x="440086" y="1297244"/>
                </a:lnTo>
                <a:lnTo>
                  <a:pt x="483535" y="1311373"/>
                </a:lnTo>
                <a:lnTo>
                  <a:pt x="528231" y="1322560"/>
                </a:lnTo>
                <a:lnTo>
                  <a:pt x="574059" y="1330690"/>
                </a:lnTo>
                <a:lnTo>
                  <a:pt x="620906" y="1335652"/>
                </a:lnTo>
                <a:lnTo>
                  <a:pt x="668660" y="1337331"/>
                </a:lnTo>
                <a:lnTo>
                  <a:pt x="716412" y="1335652"/>
                </a:lnTo>
                <a:lnTo>
                  <a:pt x="763259" y="1330690"/>
                </a:lnTo>
                <a:lnTo>
                  <a:pt x="809086" y="1322560"/>
                </a:lnTo>
                <a:lnTo>
                  <a:pt x="853781" y="1311373"/>
                </a:lnTo>
                <a:lnTo>
                  <a:pt x="897230" y="1297244"/>
                </a:lnTo>
                <a:lnTo>
                  <a:pt x="939320" y="1280284"/>
                </a:lnTo>
                <a:lnTo>
                  <a:pt x="979938" y="1260609"/>
                </a:lnTo>
                <a:lnTo>
                  <a:pt x="1018972" y="1238329"/>
                </a:lnTo>
                <a:lnTo>
                  <a:pt x="1056307" y="1213560"/>
                </a:lnTo>
                <a:lnTo>
                  <a:pt x="1091831" y="1186413"/>
                </a:lnTo>
                <a:lnTo>
                  <a:pt x="1125430" y="1157002"/>
                </a:lnTo>
                <a:lnTo>
                  <a:pt x="1156992" y="1125440"/>
                </a:lnTo>
                <a:lnTo>
                  <a:pt x="1186402" y="1091841"/>
                </a:lnTo>
                <a:lnTo>
                  <a:pt x="1213549" y="1056317"/>
                </a:lnTo>
                <a:lnTo>
                  <a:pt x="1238319" y="1018982"/>
                </a:lnTo>
                <a:lnTo>
                  <a:pt x="1260598" y="979949"/>
                </a:lnTo>
                <a:lnTo>
                  <a:pt x="1280274" y="939330"/>
                </a:lnTo>
                <a:lnTo>
                  <a:pt x="1297233" y="897240"/>
                </a:lnTo>
                <a:lnTo>
                  <a:pt x="1311363" y="853791"/>
                </a:lnTo>
                <a:lnTo>
                  <a:pt x="1322549" y="809096"/>
                </a:lnTo>
                <a:lnTo>
                  <a:pt x="1330680" y="763269"/>
                </a:lnTo>
                <a:lnTo>
                  <a:pt x="1335641" y="716423"/>
                </a:lnTo>
                <a:lnTo>
                  <a:pt x="1337320" y="668670"/>
                </a:lnTo>
                <a:lnTo>
                  <a:pt x="1335641" y="620916"/>
                </a:lnTo>
                <a:lnTo>
                  <a:pt x="1330680" y="574069"/>
                </a:lnTo>
                <a:lnTo>
                  <a:pt x="1322549" y="528241"/>
                </a:lnTo>
                <a:lnTo>
                  <a:pt x="1311363" y="483545"/>
                </a:lnTo>
                <a:lnTo>
                  <a:pt x="1297233" y="440095"/>
                </a:lnTo>
                <a:lnTo>
                  <a:pt x="1280274" y="398004"/>
                </a:lnTo>
                <a:lnTo>
                  <a:pt x="1260598" y="357385"/>
                </a:lnTo>
                <a:lnTo>
                  <a:pt x="1238319" y="318351"/>
                </a:lnTo>
                <a:lnTo>
                  <a:pt x="1213549" y="281015"/>
                </a:lnTo>
                <a:lnTo>
                  <a:pt x="1186402" y="245491"/>
                </a:lnTo>
                <a:lnTo>
                  <a:pt x="1156992" y="211891"/>
                </a:lnTo>
                <a:lnTo>
                  <a:pt x="1125430" y="180329"/>
                </a:lnTo>
                <a:lnTo>
                  <a:pt x="1091831" y="150918"/>
                </a:lnTo>
                <a:lnTo>
                  <a:pt x="1056307" y="123771"/>
                </a:lnTo>
                <a:lnTo>
                  <a:pt x="1018972" y="99001"/>
                </a:lnTo>
                <a:lnTo>
                  <a:pt x="979938" y="76722"/>
                </a:lnTo>
                <a:lnTo>
                  <a:pt x="939320" y="57046"/>
                </a:lnTo>
                <a:lnTo>
                  <a:pt x="897230" y="40086"/>
                </a:lnTo>
                <a:lnTo>
                  <a:pt x="853781" y="25957"/>
                </a:lnTo>
                <a:lnTo>
                  <a:pt x="809086" y="14770"/>
                </a:lnTo>
                <a:lnTo>
                  <a:pt x="763259" y="6640"/>
                </a:lnTo>
                <a:lnTo>
                  <a:pt x="716412" y="1678"/>
                </a:lnTo>
                <a:lnTo>
                  <a:pt x="668660" y="0"/>
                </a:lnTo>
                <a:close/>
              </a:path>
            </a:pathLst>
          </a:custGeom>
          <a:solidFill>
            <a:srgbClr val="E5E5E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en-AU"/>
          </a:p>
        </p:txBody>
      </p:sp>
      <p:sp>
        <p:nvSpPr>
          <p:cNvPr id="11" name="object 5">
            <a:extLst>
              <a:ext uri="{FF2B5EF4-FFF2-40B4-BE49-F238E27FC236}">
                <a16:creationId xmlns:a16="http://schemas.microsoft.com/office/drawing/2014/main" id="{E42065AB-B0A0-58DB-090A-7F031731DB7D}"/>
              </a:ext>
            </a:extLst>
          </p:cNvPr>
          <p:cNvSpPr txBox="1"/>
          <p:nvPr userDrawn="1"/>
        </p:nvSpPr>
        <p:spPr>
          <a:xfrm>
            <a:off x="1616075" y="2787650"/>
            <a:ext cx="831850" cy="312738"/>
          </a:xfrm>
          <a:prstGeom prst="rect">
            <a:avLst/>
          </a:prstGeom>
        </p:spPr>
        <p:txBody>
          <a:bodyPr lIns="0" tIns="12700" rIns="0" bIns="0">
            <a:spAutoFit/>
          </a:bodyPr>
          <a:lstStyle/>
          <a:p>
            <a:pPr marL="12700" algn="ctr" eaLnBrk="1" fontAlgn="auto" hangingPunct="1">
              <a:spcBef>
                <a:spcPts val="100"/>
              </a:spcBef>
              <a:spcAft>
                <a:spcPts val="0"/>
              </a:spcAft>
              <a:defRPr/>
            </a:pPr>
            <a:r>
              <a:rPr lang="it-IT" sz="1950" b="1" spc="505" dirty="0">
                <a:latin typeface="Helvetica Neue"/>
                <a:cs typeface="Helvetica Neue"/>
              </a:rPr>
              <a:t>FIAT</a:t>
            </a:r>
            <a:endParaRPr lang="it-IT" sz="1950" dirty="0">
              <a:latin typeface="Helvetica Neue"/>
              <a:cs typeface="Helvetica Neue"/>
            </a:endParaRPr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10052050" y="3401226"/>
            <a:ext cx="8542867" cy="7225030"/>
          </a:xfrm>
          <a:prstGeom prst="rect">
            <a:avLst/>
          </a:prstGeom>
          <a:solidFill>
            <a:srgbClr val="E5E5E5"/>
          </a:solidFill>
        </p:spPr>
        <p:txBody>
          <a:bodyPr/>
          <a:lstStyle>
            <a:lvl1pPr>
              <a:defRPr/>
            </a:lvl1pPr>
          </a:lstStyle>
          <a:p>
            <a:endParaRPr dirty="0"/>
          </a:p>
        </p:txBody>
      </p:sp>
      <p:sp>
        <p:nvSpPr>
          <p:cNvPr id="13" name="Holder 2"/>
          <p:cNvSpPr>
            <a:spLocks noGrp="1"/>
          </p:cNvSpPr>
          <p:nvPr>
            <p:ph type="ctrTitle"/>
          </p:nvPr>
        </p:nvSpPr>
        <p:spPr>
          <a:xfrm>
            <a:off x="1534064" y="4740275"/>
            <a:ext cx="6689186" cy="9144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600" b="1" i="0" u="sng">
                <a:latin typeface="Helvetica" pitchFamily="2" charset="0"/>
              </a:defRPr>
            </a:lvl1pPr>
          </a:lstStyle>
          <a:p>
            <a:endParaRPr lang="it-IT" dirty="0"/>
          </a:p>
        </p:txBody>
      </p:sp>
      <p:sp>
        <p:nvSpPr>
          <p:cNvPr id="14" name="Holder 3"/>
          <p:cNvSpPr>
            <a:spLocks noGrp="1"/>
          </p:cNvSpPr>
          <p:nvPr>
            <p:ph type="subTitle" idx="4"/>
          </p:nvPr>
        </p:nvSpPr>
        <p:spPr>
          <a:xfrm>
            <a:off x="1534064" y="5756441"/>
            <a:ext cx="6689186" cy="2108034"/>
          </a:xfrm>
          <a:prstGeom prst="rect">
            <a:avLst/>
          </a:prstGeom>
        </p:spPr>
        <p:txBody>
          <a:bodyPr/>
          <a:lstStyle>
            <a:lvl1pPr>
              <a:defRPr sz="2200"/>
            </a:lvl1pPr>
          </a:lstStyle>
          <a:p>
            <a:endParaRPr lang="it-IT" dirty="0"/>
          </a:p>
        </p:txBody>
      </p:sp>
      <p:sp>
        <p:nvSpPr>
          <p:cNvPr id="8" name="Segnaposto testo 7"/>
          <p:cNvSpPr>
            <a:spLocks noGrp="1"/>
          </p:cNvSpPr>
          <p:nvPr>
            <p:ph type="body" sz="quarter" idx="10"/>
          </p:nvPr>
        </p:nvSpPr>
        <p:spPr>
          <a:xfrm>
            <a:off x="1534064" y="8019591"/>
            <a:ext cx="6689186" cy="338554"/>
          </a:xfrm>
        </p:spPr>
        <p:txBody>
          <a:bodyPr/>
          <a:lstStyle>
            <a:lvl1pPr marL="342900" indent="-342900">
              <a:lnSpc>
                <a:spcPct val="100000"/>
              </a:lnSpc>
              <a:buFont typeface="Arial" panose="020B0604020202020204" pitchFamily="34" charset="0"/>
              <a:buChar char="•"/>
              <a:defRPr sz="2200" b="0" i="0">
                <a:latin typeface="Helvetica" pitchFamily="2" charset="0"/>
              </a:defRPr>
            </a:lvl1pPr>
            <a:lvl2pPr marL="457200" indent="0">
              <a:buFont typeface="Arial" panose="020B0604020202020204" pitchFamily="34" charset="0"/>
              <a:buNone/>
              <a:defRPr sz="2200" b="0" i="0">
                <a:latin typeface="Helvetica" pitchFamily="2" charset="0"/>
              </a:defRPr>
            </a:lvl2pPr>
            <a:lvl3pPr>
              <a:defRPr b="0" i="0">
                <a:latin typeface="Helvetica" pitchFamily="2" charset="0"/>
              </a:defRPr>
            </a:lvl3pPr>
            <a:lvl4pPr>
              <a:defRPr b="0" i="0">
                <a:latin typeface="Helvetica" pitchFamily="2" charset="0"/>
              </a:defRPr>
            </a:lvl4pPr>
            <a:lvl5pPr>
              <a:defRPr b="0" i="0">
                <a:latin typeface="Helvetica" pitchFamily="2" charset="0"/>
              </a:defRPr>
            </a:lvl5pPr>
          </a:lstStyle>
          <a:p>
            <a:pPr lvl="0"/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80601564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Predmet 1" hidden="1">
            <a:extLst>
              <a:ext uri="{FF2B5EF4-FFF2-40B4-BE49-F238E27FC236}">
                <a16:creationId xmlns:a16="http://schemas.microsoft.com/office/drawing/2014/main" id="{64D4AC41-E773-9F8E-3D3D-8D20C943BB7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2" name="Predmet 1" hidden="1">
                        <a:extLst>
                          <a:ext uri="{FF2B5EF4-FFF2-40B4-BE49-F238E27FC236}">
                            <a16:creationId xmlns:a16="http://schemas.microsoft.com/office/drawing/2014/main" id="{64D4AC41-E773-9F8E-3D3D-8D20C943BB75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bg object 16">
            <a:extLst>
              <a:ext uri="{FF2B5EF4-FFF2-40B4-BE49-F238E27FC236}">
                <a16:creationId xmlns:a16="http://schemas.microsoft.com/office/drawing/2014/main" id="{55E1E865-B344-F014-EF78-9C37260EC253}"/>
              </a:ext>
            </a:extLst>
          </p:cNvPr>
          <p:cNvSpPr>
            <a:spLocks/>
          </p:cNvSpPr>
          <p:nvPr userDrawn="1"/>
        </p:nvSpPr>
        <p:spPr bwMode="auto">
          <a:xfrm>
            <a:off x="0" y="0"/>
            <a:ext cx="20104100" cy="1546225"/>
          </a:xfrm>
          <a:custGeom>
            <a:avLst/>
            <a:gdLst>
              <a:gd name="T0" fmla="*/ 0 w 20104100"/>
              <a:gd name="T1" fmla="*/ 1530592 h 1530985"/>
              <a:gd name="T2" fmla="*/ 20104099 w 20104100"/>
              <a:gd name="T3" fmla="*/ 1530592 h 1530985"/>
              <a:gd name="T4" fmla="*/ 20104099 w 20104100"/>
              <a:gd name="T5" fmla="*/ 0 h 1530985"/>
              <a:gd name="T6" fmla="*/ 0 w 20104100"/>
              <a:gd name="T7" fmla="*/ 0 h 1530985"/>
              <a:gd name="T8" fmla="*/ 0 w 20104100"/>
              <a:gd name="T9" fmla="*/ 1530592 h 15309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0104100" h="1530985">
                <a:moveTo>
                  <a:pt x="0" y="1530592"/>
                </a:moveTo>
                <a:lnTo>
                  <a:pt x="20104099" y="1530592"/>
                </a:lnTo>
                <a:lnTo>
                  <a:pt x="20104099" y="0"/>
                </a:lnTo>
                <a:lnTo>
                  <a:pt x="0" y="0"/>
                </a:lnTo>
                <a:lnTo>
                  <a:pt x="0" y="1530592"/>
                </a:lnTo>
                <a:close/>
              </a:path>
            </a:pathLst>
          </a:custGeom>
          <a:solidFill>
            <a:srgbClr val="6F778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en-AU"/>
          </a:p>
        </p:txBody>
      </p:sp>
      <p:sp>
        <p:nvSpPr>
          <p:cNvPr id="4" name="Holder 2">
            <a:extLst>
              <a:ext uri="{FF2B5EF4-FFF2-40B4-BE49-F238E27FC236}">
                <a16:creationId xmlns:a16="http://schemas.microsoft.com/office/drawing/2014/main" id="{E8FC9735-B432-A19B-B1A7-0B40F582441C}"/>
              </a:ext>
            </a:extLst>
          </p:cNvPr>
          <p:cNvSpPr txBox="1">
            <a:spLocks/>
          </p:cNvSpPr>
          <p:nvPr userDrawn="1"/>
        </p:nvSpPr>
        <p:spPr>
          <a:xfrm>
            <a:off x="3346450" y="606425"/>
            <a:ext cx="10163175" cy="400050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>
            <a:lvl1pPr>
              <a:defRPr sz="2600" b="1" i="0">
                <a:solidFill>
                  <a:schemeClr val="bg1"/>
                </a:solidFill>
                <a:latin typeface="Helvetica" pitchFamily="2" charset="0"/>
                <a:ea typeface="+mj-ea"/>
                <a:cs typeface="Helvetica Neue"/>
              </a:defRPr>
            </a:lvl1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it-IT" b="0" kern="0" spc="300" dirty="0">
                <a:latin typeface="Helvetica Light" panose="020B0403020202020204" pitchFamily="34" charset="0"/>
              </a:rPr>
              <a:t>COLLECTION</a:t>
            </a:r>
          </a:p>
        </p:txBody>
      </p:sp>
      <p:sp>
        <p:nvSpPr>
          <p:cNvPr id="5" name="Holder 2">
            <a:extLst>
              <a:ext uri="{FF2B5EF4-FFF2-40B4-BE49-F238E27FC236}">
                <a16:creationId xmlns:a16="http://schemas.microsoft.com/office/drawing/2014/main" id="{1DBE45D9-E4E1-64FA-75FD-C5FF49A81A7F}"/>
              </a:ext>
            </a:extLst>
          </p:cNvPr>
          <p:cNvSpPr txBox="1">
            <a:spLocks/>
          </p:cNvSpPr>
          <p:nvPr userDrawn="1"/>
        </p:nvSpPr>
        <p:spPr>
          <a:xfrm>
            <a:off x="679450" y="606425"/>
            <a:ext cx="2667000" cy="400050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>
            <a:lvl1pPr>
              <a:defRPr sz="2600" b="1" i="0">
                <a:solidFill>
                  <a:schemeClr val="bg1"/>
                </a:solidFill>
                <a:latin typeface="Helvetica" pitchFamily="2" charset="0"/>
                <a:ea typeface="+mj-ea"/>
                <a:cs typeface="Helvetica Neue"/>
              </a:defRPr>
            </a:lvl1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it-IT" spc="600" dirty="0"/>
              <a:t>CARAVANS</a:t>
            </a:r>
            <a:endParaRPr lang="it-IT" kern="0" spc="600" dirty="0"/>
          </a:p>
        </p:txBody>
      </p:sp>
      <p:sp>
        <p:nvSpPr>
          <p:cNvPr id="6" name="object 2">
            <a:extLst>
              <a:ext uri="{FF2B5EF4-FFF2-40B4-BE49-F238E27FC236}">
                <a16:creationId xmlns:a16="http://schemas.microsoft.com/office/drawing/2014/main" id="{9D31A91E-B5ED-1DBA-9BE2-A7152B35F777}"/>
              </a:ext>
            </a:extLst>
          </p:cNvPr>
          <p:cNvSpPr>
            <a:spLocks/>
          </p:cNvSpPr>
          <p:nvPr userDrawn="1"/>
        </p:nvSpPr>
        <p:spPr bwMode="auto">
          <a:xfrm>
            <a:off x="16451263" y="663575"/>
            <a:ext cx="3090862" cy="254000"/>
          </a:xfrm>
          <a:custGeom>
            <a:avLst/>
            <a:gdLst>
              <a:gd name="T0" fmla="*/ 343852 w 3090544"/>
              <a:gd name="T1" fmla="*/ 175133 h 253365"/>
              <a:gd name="T2" fmla="*/ 293979 w 3090544"/>
              <a:gd name="T3" fmla="*/ 165417 h 253365"/>
              <a:gd name="T4" fmla="*/ 266420 w 3090544"/>
              <a:gd name="T5" fmla="*/ 207365 h 253365"/>
              <a:gd name="T6" fmla="*/ 293979 w 3090544"/>
              <a:gd name="T7" fmla="*/ 249301 h 253365"/>
              <a:gd name="T8" fmla="*/ 343852 w 3090544"/>
              <a:gd name="T9" fmla="*/ 239534 h 253365"/>
              <a:gd name="T10" fmla="*/ 622452 w 3090544"/>
              <a:gd name="T11" fmla="*/ 246989 h 253365"/>
              <a:gd name="T12" fmla="*/ 413931 w 3090544"/>
              <a:gd name="T13" fmla="*/ 7061 h 253365"/>
              <a:gd name="T14" fmla="*/ 75628 w 3090544"/>
              <a:gd name="T15" fmla="*/ 9728 h 253365"/>
              <a:gd name="T16" fmla="*/ 0 w 3090544"/>
              <a:gd name="T17" fmla="*/ 123494 h 253365"/>
              <a:gd name="T18" fmla="*/ 75628 w 3090544"/>
              <a:gd name="T19" fmla="*/ 237286 h 253365"/>
              <a:gd name="T20" fmla="*/ 238823 w 3090544"/>
              <a:gd name="T21" fmla="*/ 203530 h 253365"/>
              <a:gd name="T22" fmla="*/ 164350 w 3090544"/>
              <a:gd name="T23" fmla="*/ 153962 h 253365"/>
              <a:gd name="T24" fmla="*/ 181749 w 3090544"/>
              <a:gd name="T25" fmla="*/ 65608 h 253365"/>
              <a:gd name="T26" fmla="*/ 258483 w 3090544"/>
              <a:gd name="T27" fmla="*/ 44411 h 253365"/>
              <a:gd name="T28" fmla="*/ 303085 w 3090544"/>
              <a:gd name="T29" fmla="*/ 74142 h 253365"/>
              <a:gd name="T30" fmla="*/ 1268044 w 3090544"/>
              <a:gd name="T31" fmla="*/ 248894 h 253365"/>
              <a:gd name="T32" fmla="*/ 1146378 w 3090544"/>
              <a:gd name="T33" fmla="*/ 92595 h 253365"/>
              <a:gd name="T34" fmla="*/ 1023289 w 3090544"/>
              <a:gd name="T35" fmla="*/ 174459 h 253365"/>
              <a:gd name="T36" fmla="*/ 1023289 w 3090544"/>
              <a:gd name="T37" fmla="*/ 174459 h 253365"/>
              <a:gd name="T38" fmla="*/ 906818 w 3090544"/>
              <a:gd name="T39" fmla="*/ 52743 h 253365"/>
              <a:gd name="T40" fmla="*/ 864831 w 3090544"/>
              <a:gd name="T41" fmla="*/ 218249 h 253365"/>
              <a:gd name="T42" fmla="*/ 1268044 w 3090544"/>
              <a:gd name="T43" fmla="*/ 248894 h 253365"/>
              <a:gd name="T44" fmla="*/ 1706829 w 3090544"/>
              <a:gd name="T45" fmla="*/ 43764 h 253365"/>
              <a:gd name="T46" fmla="*/ 1585315 w 3090544"/>
              <a:gd name="T47" fmla="*/ 2298 h 253365"/>
              <a:gd name="T48" fmla="*/ 1564487 w 3090544"/>
              <a:gd name="T49" fmla="*/ 183870 h 253365"/>
              <a:gd name="T50" fmla="*/ 1458353 w 3090544"/>
              <a:gd name="T51" fmla="*/ 205105 h 253365"/>
              <a:gd name="T52" fmla="*/ 1538414 w 3090544"/>
              <a:gd name="T53" fmla="*/ 49377 h 253365"/>
              <a:gd name="T54" fmla="*/ 1585315 w 3090544"/>
              <a:gd name="T55" fmla="*/ 124942 h 253365"/>
              <a:gd name="T56" fmla="*/ 1301597 w 3090544"/>
              <a:gd name="T57" fmla="*/ 0 h 253365"/>
              <a:gd name="T58" fmla="*/ 1604314 w 3090544"/>
              <a:gd name="T59" fmla="*/ 245668 h 253365"/>
              <a:gd name="T60" fmla="*/ 1735251 w 3090544"/>
              <a:gd name="T61" fmla="*/ 164058 h 253365"/>
              <a:gd name="T62" fmla="*/ 2206523 w 3090544"/>
              <a:gd name="T63" fmla="*/ 157530 h 253365"/>
              <a:gd name="T64" fmla="*/ 2261095 w 3090544"/>
              <a:gd name="T65" fmla="*/ 106921 h 253365"/>
              <a:gd name="T66" fmla="*/ 2252942 w 3090544"/>
              <a:gd name="T67" fmla="*/ 43802 h 253365"/>
              <a:gd name="T68" fmla="*/ 2154047 w 3090544"/>
              <a:gd name="T69" fmla="*/ 0 h 253365"/>
              <a:gd name="T70" fmla="*/ 1977072 w 3090544"/>
              <a:gd name="T71" fmla="*/ 248894 h 253365"/>
              <a:gd name="T72" fmla="*/ 2073948 w 3090544"/>
              <a:gd name="T73" fmla="*/ 47777 h 253365"/>
              <a:gd name="T74" fmla="*/ 2104517 w 3090544"/>
              <a:gd name="T75" fmla="*/ 89331 h 253365"/>
              <a:gd name="T76" fmla="*/ 2063915 w 3090544"/>
              <a:gd name="T77" fmla="*/ 136613 h 253365"/>
              <a:gd name="T78" fmla="*/ 2081834 w 3090544"/>
              <a:gd name="T79" fmla="*/ 248894 h 253365"/>
              <a:gd name="T80" fmla="*/ 2366886 w 3090544"/>
              <a:gd name="T81" fmla="*/ 12 h 253365"/>
              <a:gd name="T82" fmla="*/ 2523629 w 3090544"/>
              <a:gd name="T83" fmla="*/ 12 h 253365"/>
              <a:gd name="T84" fmla="*/ 3032163 w 3090544"/>
              <a:gd name="T85" fmla="*/ 174459 h 253365"/>
              <a:gd name="T86" fmla="*/ 2845473 w 3090544"/>
              <a:gd name="T87" fmla="*/ 0 h 253365"/>
              <a:gd name="T88" fmla="*/ 2782201 w 3090544"/>
              <a:gd name="T89" fmla="*/ 92595 h 253365"/>
              <a:gd name="T90" fmla="*/ 2688132 w 3090544"/>
              <a:gd name="T91" fmla="*/ 0 h 253365"/>
              <a:gd name="T92" fmla="*/ 2661729 w 3090544"/>
              <a:gd name="T93" fmla="*/ 248894 h 253365"/>
              <a:gd name="T94" fmla="*/ 2902902 w 3090544"/>
              <a:gd name="T95" fmla="*/ 248894 h 25336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3090544" h="253365">
                <a:moveTo>
                  <a:pt x="357009" y="207365"/>
                </a:moveTo>
                <a:lnTo>
                  <a:pt x="353491" y="189585"/>
                </a:lnTo>
                <a:lnTo>
                  <a:pt x="343852" y="175133"/>
                </a:lnTo>
                <a:lnTo>
                  <a:pt x="329476" y="165417"/>
                </a:lnTo>
                <a:lnTo>
                  <a:pt x="311746" y="161861"/>
                </a:lnTo>
                <a:lnTo>
                  <a:pt x="293979" y="165417"/>
                </a:lnTo>
                <a:lnTo>
                  <a:pt x="279577" y="175133"/>
                </a:lnTo>
                <a:lnTo>
                  <a:pt x="269938" y="189585"/>
                </a:lnTo>
                <a:lnTo>
                  <a:pt x="266420" y="207365"/>
                </a:lnTo>
                <a:lnTo>
                  <a:pt x="269938" y="225056"/>
                </a:lnTo>
                <a:lnTo>
                  <a:pt x="279577" y="239534"/>
                </a:lnTo>
                <a:lnTo>
                  <a:pt x="293979" y="249301"/>
                </a:lnTo>
                <a:lnTo>
                  <a:pt x="311746" y="252895"/>
                </a:lnTo>
                <a:lnTo>
                  <a:pt x="329476" y="249301"/>
                </a:lnTo>
                <a:lnTo>
                  <a:pt x="343852" y="239534"/>
                </a:lnTo>
                <a:lnTo>
                  <a:pt x="353491" y="225056"/>
                </a:lnTo>
                <a:lnTo>
                  <a:pt x="357009" y="207365"/>
                </a:lnTo>
                <a:close/>
              </a:path>
              <a:path w="3090544" h="253365">
                <a:moveTo>
                  <a:pt x="622452" y="246989"/>
                </a:moveTo>
                <a:lnTo>
                  <a:pt x="493928" y="81991"/>
                </a:lnTo>
                <a:lnTo>
                  <a:pt x="469874" y="51904"/>
                </a:lnTo>
                <a:lnTo>
                  <a:pt x="413931" y="7061"/>
                </a:lnTo>
                <a:lnTo>
                  <a:pt x="377621" y="12"/>
                </a:lnTo>
                <a:lnTo>
                  <a:pt x="123710" y="12"/>
                </a:lnTo>
                <a:lnTo>
                  <a:pt x="75628" y="9728"/>
                </a:lnTo>
                <a:lnTo>
                  <a:pt x="36296" y="36195"/>
                </a:lnTo>
                <a:lnTo>
                  <a:pt x="9740" y="75450"/>
                </a:lnTo>
                <a:lnTo>
                  <a:pt x="0" y="123494"/>
                </a:lnTo>
                <a:lnTo>
                  <a:pt x="9740" y="171564"/>
                </a:lnTo>
                <a:lnTo>
                  <a:pt x="36296" y="210820"/>
                </a:lnTo>
                <a:lnTo>
                  <a:pt x="75628" y="237286"/>
                </a:lnTo>
                <a:lnTo>
                  <a:pt x="123710" y="246989"/>
                </a:lnTo>
                <a:lnTo>
                  <a:pt x="238823" y="246989"/>
                </a:lnTo>
                <a:lnTo>
                  <a:pt x="238823" y="203530"/>
                </a:lnTo>
                <a:lnTo>
                  <a:pt x="207429" y="197129"/>
                </a:lnTo>
                <a:lnTo>
                  <a:pt x="181724" y="179705"/>
                </a:lnTo>
                <a:lnTo>
                  <a:pt x="164350" y="153962"/>
                </a:lnTo>
                <a:lnTo>
                  <a:pt x="157975" y="122542"/>
                </a:lnTo>
                <a:lnTo>
                  <a:pt x="164363" y="91198"/>
                </a:lnTo>
                <a:lnTo>
                  <a:pt x="181749" y="65608"/>
                </a:lnTo>
                <a:lnTo>
                  <a:pt x="207530" y="48361"/>
                </a:lnTo>
                <a:lnTo>
                  <a:pt x="239064" y="42037"/>
                </a:lnTo>
                <a:lnTo>
                  <a:pt x="258483" y="44411"/>
                </a:lnTo>
                <a:lnTo>
                  <a:pt x="275844" y="51041"/>
                </a:lnTo>
                <a:lnTo>
                  <a:pt x="290817" y="61201"/>
                </a:lnTo>
                <a:lnTo>
                  <a:pt x="303085" y="74142"/>
                </a:lnTo>
                <a:lnTo>
                  <a:pt x="436664" y="246989"/>
                </a:lnTo>
                <a:lnTo>
                  <a:pt x="622452" y="246989"/>
                </a:lnTo>
                <a:close/>
              </a:path>
              <a:path w="3090544" h="253365">
                <a:moveTo>
                  <a:pt x="1268044" y="248894"/>
                </a:moveTo>
                <a:lnTo>
                  <a:pt x="1244193" y="218249"/>
                </a:lnTo>
                <a:lnTo>
                  <a:pt x="1210106" y="174459"/>
                </a:lnTo>
                <a:lnTo>
                  <a:pt x="1146378" y="92595"/>
                </a:lnTo>
                <a:lnTo>
                  <a:pt x="1074293" y="0"/>
                </a:lnTo>
                <a:lnTo>
                  <a:pt x="1023289" y="0"/>
                </a:lnTo>
                <a:lnTo>
                  <a:pt x="1023289" y="174459"/>
                </a:lnTo>
                <a:lnTo>
                  <a:pt x="894892" y="174459"/>
                </a:lnTo>
                <a:lnTo>
                  <a:pt x="960107" y="92595"/>
                </a:lnTo>
                <a:lnTo>
                  <a:pt x="1023289" y="174459"/>
                </a:lnTo>
                <a:lnTo>
                  <a:pt x="1023289" y="0"/>
                </a:lnTo>
                <a:lnTo>
                  <a:pt x="866051" y="0"/>
                </a:lnTo>
                <a:lnTo>
                  <a:pt x="906818" y="52743"/>
                </a:lnTo>
                <a:lnTo>
                  <a:pt x="746315" y="248894"/>
                </a:lnTo>
                <a:lnTo>
                  <a:pt x="839660" y="248894"/>
                </a:lnTo>
                <a:lnTo>
                  <a:pt x="864831" y="218249"/>
                </a:lnTo>
                <a:lnTo>
                  <a:pt x="1057160" y="218249"/>
                </a:lnTo>
                <a:lnTo>
                  <a:pt x="1080795" y="248894"/>
                </a:lnTo>
                <a:lnTo>
                  <a:pt x="1268044" y="248894"/>
                </a:lnTo>
                <a:close/>
              </a:path>
              <a:path w="3090544" h="253365">
                <a:moveTo>
                  <a:pt x="1740636" y="125158"/>
                </a:moveTo>
                <a:lnTo>
                  <a:pt x="1735315" y="86347"/>
                </a:lnTo>
                <a:lnTo>
                  <a:pt x="1706829" y="43764"/>
                </a:lnTo>
                <a:lnTo>
                  <a:pt x="1654098" y="13538"/>
                </a:lnTo>
                <a:lnTo>
                  <a:pt x="1604657" y="3365"/>
                </a:lnTo>
                <a:lnTo>
                  <a:pt x="1585315" y="2298"/>
                </a:lnTo>
                <a:lnTo>
                  <a:pt x="1585315" y="124942"/>
                </a:lnTo>
                <a:lnTo>
                  <a:pt x="1580108" y="158673"/>
                </a:lnTo>
                <a:lnTo>
                  <a:pt x="1564487" y="183870"/>
                </a:lnTo>
                <a:lnTo>
                  <a:pt x="1538516" y="199644"/>
                </a:lnTo>
                <a:lnTo>
                  <a:pt x="1502232" y="205105"/>
                </a:lnTo>
                <a:lnTo>
                  <a:pt x="1458353" y="205105"/>
                </a:lnTo>
                <a:lnTo>
                  <a:pt x="1458353" y="43764"/>
                </a:lnTo>
                <a:lnTo>
                  <a:pt x="1502232" y="43764"/>
                </a:lnTo>
                <a:lnTo>
                  <a:pt x="1538414" y="49377"/>
                </a:lnTo>
                <a:lnTo>
                  <a:pt x="1564398" y="65506"/>
                </a:lnTo>
                <a:lnTo>
                  <a:pt x="1580070" y="91059"/>
                </a:lnTo>
                <a:lnTo>
                  <a:pt x="1585315" y="124942"/>
                </a:lnTo>
                <a:lnTo>
                  <a:pt x="1585315" y="2298"/>
                </a:lnTo>
                <a:lnTo>
                  <a:pt x="1543723" y="0"/>
                </a:lnTo>
                <a:lnTo>
                  <a:pt x="1301597" y="0"/>
                </a:lnTo>
                <a:lnTo>
                  <a:pt x="1301597" y="248894"/>
                </a:lnTo>
                <a:lnTo>
                  <a:pt x="1543723" y="248894"/>
                </a:lnTo>
                <a:lnTo>
                  <a:pt x="1604314" y="245668"/>
                </a:lnTo>
                <a:lnTo>
                  <a:pt x="1653654" y="235839"/>
                </a:lnTo>
                <a:lnTo>
                  <a:pt x="1691855" y="219138"/>
                </a:lnTo>
                <a:lnTo>
                  <a:pt x="1735251" y="164058"/>
                </a:lnTo>
                <a:lnTo>
                  <a:pt x="1740636" y="125158"/>
                </a:lnTo>
                <a:close/>
              </a:path>
              <a:path w="3090544" h="253365">
                <a:moveTo>
                  <a:pt x="2277529" y="248894"/>
                </a:moveTo>
                <a:lnTo>
                  <a:pt x="2206523" y="157530"/>
                </a:lnTo>
                <a:lnTo>
                  <a:pt x="2231339" y="145008"/>
                </a:lnTo>
                <a:lnTo>
                  <a:pt x="2249703" y="127965"/>
                </a:lnTo>
                <a:lnTo>
                  <a:pt x="2261095" y="106921"/>
                </a:lnTo>
                <a:lnTo>
                  <a:pt x="2265019" y="82397"/>
                </a:lnTo>
                <a:lnTo>
                  <a:pt x="2258149" y="50393"/>
                </a:lnTo>
                <a:lnTo>
                  <a:pt x="2252942" y="43802"/>
                </a:lnTo>
                <a:lnTo>
                  <a:pt x="2237448" y="24193"/>
                </a:lnTo>
                <a:lnTo>
                  <a:pt x="2202789" y="6502"/>
                </a:lnTo>
                <a:lnTo>
                  <a:pt x="2154047" y="0"/>
                </a:lnTo>
                <a:lnTo>
                  <a:pt x="1820545" y="0"/>
                </a:lnTo>
                <a:lnTo>
                  <a:pt x="1820545" y="248894"/>
                </a:lnTo>
                <a:lnTo>
                  <a:pt x="1977072" y="248894"/>
                </a:lnTo>
                <a:lnTo>
                  <a:pt x="1977072" y="43802"/>
                </a:lnTo>
                <a:lnTo>
                  <a:pt x="2047989" y="43802"/>
                </a:lnTo>
                <a:lnTo>
                  <a:pt x="2073948" y="47777"/>
                </a:lnTo>
                <a:lnTo>
                  <a:pt x="2091486" y="58178"/>
                </a:lnTo>
                <a:lnTo>
                  <a:pt x="2101392" y="72783"/>
                </a:lnTo>
                <a:lnTo>
                  <a:pt x="2104517" y="89331"/>
                </a:lnTo>
                <a:lnTo>
                  <a:pt x="2098624" y="111201"/>
                </a:lnTo>
                <a:lnTo>
                  <a:pt x="2083714" y="127012"/>
                </a:lnTo>
                <a:lnTo>
                  <a:pt x="2063915" y="136613"/>
                </a:lnTo>
                <a:lnTo>
                  <a:pt x="2043353" y="139852"/>
                </a:lnTo>
                <a:lnTo>
                  <a:pt x="2022157" y="139852"/>
                </a:lnTo>
                <a:lnTo>
                  <a:pt x="2081834" y="248894"/>
                </a:lnTo>
                <a:lnTo>
                  <a:pt x="2277529" y="248894"/>
                </a:lnTo>
                <a:close/>
              </a:path>
              <a:path w="3090544" h="253365">
                <a:moveTo>
                  <a:pt x="2523629" y="12"/>
                </a:moveTo>
                <a:lnTo>
                  <a:pt x="2366886" y="12"/>
                </a:lnTo>
                <a:lnTo>
                  <a:pt x="2366886" y="248894"/>
                </a:lnTo>
                <a:lnTo>
                  <a:pt x="2523629" y="248894"/>
                </a:lnTo>
                <a:lnTo>
                  <a:pt x="2523629" y="12"/>
                </a:lnTo>
                <a:close/>
              </a:path>
              <a:path w="3090544" h="253365">
                <a:moveTo>
                  <a:pt x="3090049" y="248894"/>
                </a:moveTo>
                <a:lnTo>
                  <a:pt x="3066224" y="218249"/>
                </a:lnTo>
                <a:lnTo>
                  <a:pt x="3032163" y="174459"/>
                </a:lnTo>
                <a:lnTo>
                  <a:pt x="2968498" y="92595"/>
                </a:lnTo>
                <a:lnTo>
                  <a:pt x="2896476" y="0"/>
                </a:lnTo>
                <a:lnTo>
                  <a:pt x="2845473" y="0"/>
                </a:lnTo>
                <a:lnTo>
                  <a:pt x="2845473" y="174459"/>
                </a:lnTo>
                <a:lnTo>
                  <a:pt x="2716720" y="174459"/>
                </a:lnTo>
                <a:lnTo>
                  <a:pt x="2782201" y="92595"/>
                </a:lnTo>
                <a:lnTo>
                  <a:pt x="2845473" y="174459"/>
                </a:lnTo>
                <a:lnTo>
                  <a:pt x="2845473" y="0"/>
                </a:lnTo>
                <a:lnTo>
                  <a:pt x="2688132" y="0"/>
                </a:lnTo>
                <a:lnTo>
                  <a:pt x="2728988" y="52743"/>
                </a:lnTo>
                <a:lnTo>
                  <a:pt x="2568397" y="248894"/>
                </a:lnTo>
                <a:lnTo>
                  <a:pt x="2661729" y="248894"/>
                </a:lnTo>
                <a:lnTo>
                  <a:pt x="2686913" y="218249"/>
                </a:lnTo>
                <a:lnTo>
                  <a:pt x="2879267" y="218249"/>
                </a:lnTo>
                <a:lnTo>
                  <a:pt x="2902902" y="248894"/>
                </a:lnTo>
                <a:lnTo>
                  <a:pt x="3090049" y="248894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en-AU"/>
          </a:p>
        </p:txBody>
      </p:sp>
      <p:sp>
        <p:nvSpPr>
          <p:cNvPr id="7" name="object 2">
            <a:extLst>
              <a:ext uri="{FF2B5EF4-FFF2-40B4-BE49-F238E27FC236}">
                <a16:creationId xmlns:a16="http://schemas.microsoft.com/office/drawing/2014/main" id="{157712F8-E3FB-B67B-943B-4BDB3AF1B23E}"/>
              </a:ext>
            </a:extLst>
          </p:cNvPr>
          <p:cNvSpPr txBox="1"/>
          <p:nvPr userDrawn="1"/>
        </p:nvSpPr>
        <p:spPr>
          <a:xfrm>
            <a:off x="5835650" y="1758950"/>
            <a:ext cx="8432800" cy="1133475"/>
          </a:xfrm>
          <a:prstGeom prst="rect">
            <a:avLst/>
          </a:prstGeom>
        </p:spPr>
        <p:txBody>
          <a:bodyPr lIns="0" tIns="89535" rIns="0" bIns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it-IT" sz="2400" b="1" spc="300" dirty="0">
                <a:latin typeface="Helvetica Neue" panose="02000503000000020004" pitchFamily="2" charset="0"/>
              </a:rPr>
              <a:t>DESIGNED FOR YOU</a:t>
            </a:r>
            <a:endParaRPr lang="it-IT" sz="2400" spc="300" dirty="0">
              <a:latin typeface="Helvetica Neue" panose="02000503000000020004" pitchFamily="2" charset="0"/>
            </a:endParaRPr>
          </a:p>
          <a:p>
            <a:pPr algn="ctr" eaLnBrk="1" fontAlgn="auto" hangingPunct="1">
              <a:spcBef>
                <a:spcPts val="975"/>
              </a:spcBef>
              <a:spcAft>
                <a:spcPts val="0"/>
              </a:spcAft>
              <a:defRPr/>
            </a:pPr>
            <a:r>
              <a:rPr lang="it-IT" sz="3550" b="1" spc="300" dirty="0">
                <a:solidFill>
                  <a:srgbClr val="666666"/>
                </a:solidFill>
                <a:latin typeface="Helvetica Neue"/>
                <a:cs typeface="Helvetica Neue"/>
              </a:rPr>
              <a:t>LAYOUTS</a:t>
            </a:r>
            <a:endParaRPr lang="it-IT" sz="3550" spc="300" dirty="0">
              <a:latin typeface="Helvetica Neue"/>
              <a:cs typeface="Helvetica Neue"/>
            </a:endParaRPr>
          </a:p>
        </p:txBody>
      </p:sp>
      <p:sp>
        <p:nvSpPr>
          <p:cNvPr id="8" name="object 20">
            <a:extLst>
              <a:ext uri="{FF2B5EF4-FFF2-40B4-BE49-F238E27FC236}">
                <a16:creationId xmlns:a16="http://schemas.microsoft.com/office/drawing/2014/main" id="{E96FD7FE-1043-C290-21F8-8D800DD09AA5}"/>
              </a:ext>
            </a:extLst>
          </p:cNvPr>
          <p:cNvSpPr>
            <a:spLocks/>
          </p:cNvSpPr>
          <p:nvPr userDrawn="1"/>
        </p:nvSpPr>
        <p:spPr bwMode="auto">
          <a:xfrm>
            <a:off x="8042275" y="6440488"/>
            <a:ext cx="739775" cy="739775"/>
          </a:xfrm>
          <a:custGeom>
            <a:avLst/>
            <a:gdLst>
              <a:gd name="T0" fmla="*/ 369831 w 739775"/>
              <a:gd name="T1" fmla="*/ 0 h 739775"/>
              <a:gd name="T2" fmla="*/ 323440 w 739775"/>
              <a:gd name="T3" fmla="*/ 2881 h 739775"/>
              <a:gd name="T4" fmla="*/ 278768 w 739775"/>
              <a:gd name="T5" fmla="*/ 11295 h 739775"/>
              <a:gd name="T6" fmla="*/ 236163 w 739775"/>
              <a:gd name="T7" fmla="*/ 24894 h 739775"/>
              <a:gd name="T8" fmla="*/ 195970 w 739775"/>
              <a:gd name="T9" fmla="*/ 43333 h 739775"/>
              <a:gd name="T10" fmla="*/ 158537 w 739775"/>
              <a:gd name="T11" fmla="*/ 66263 h 739775"/>
              <a:gd name="T12" fmla="*/ 124210 w 739775"/>
              <a:gd name="T13" fmla="*/ 93339 h 739775"/>
              <a:gd name="T14" fmla="*/ 93335 w 739775"/>
              <a:gd name="T15" fmla="*/ 124214 h 739775"/>
              <a:gd name="T16" fmla="*/ 66260 w 739775"/>
              <a:gd name="T17" fmla="*/ 158542 h 739775"/>
              <a:gd name="T18" fmla="*/ 43330 w 739775"/>
              <a:gd name="T19" fmla="*/ 195975 h 739775"/>
              <a:gd name="T20" fmla="*/ 24893 w 739775"/>
              <a:gd name="T21" fmla="*/ 236167 h 739775"/>
              <a:gd name="T22" fmla="*/ 11294 w 739775"/>
              <a:gd name="T23" fmla="*/ 278771 h 739775"/>
              <a:gd name="T24" fmla="*/ 2881 w 739775"/>
              <a:gd name="T25" fmla="*/ 323442 h 739775"/>
              <a:gd name="T26" fmla="*/ 0 w 739775"/>
              <a:gd name="T27" fmla="*/ 369831 h 739775"/>
              <a:gd name="T28" fmla="*/ 2881 w 739775"/>
              <a:gd name="T29" fmla="*/ 416223 h 739775"/>
              <a:gd name="T30" fmla="*/ 11294 w 739775"/>
              <a:gd name="T31" fmla="*/ 460894 h 739775"/>
              <a:gd name="T32" fmla="*/ 24893 w 739775"/>
              <a:gd name="T33" fmla="*/ 503500 h 739775"/>
              <a:gd name="T34" fmla="*/ 43330 w 739775"/>
              <a:gd name="T35" fmla="*/ 543692 h 739775"/>
              <a:gd name="T36" fmla="*/ 66260 w 739775"/>
              <a:gd name="T37" fmla="*/ 581125 h 739775"/>
              <a:gd name="T38" fmla="*/ 93335 w 739775"/>
              <a:gd name="T39" fmla="*/ 615452 h 739775"/>
              <a:gd name="T40" fmla="*/ 124210 w 739775"/>
              <a:gd name="T41" fmla="*/ 646327 h 739775"/>
              <a:gd name="T42" fmla="*/ 158537 w 739775"/>
              <a:gd name="T43" fmla="*/ 673402 h 739775"/>
              <a:gd name="T44" fmla="*/ 195970 w 739775"/>
              <a:gd name="T45" fmla="*/ 696332 h 739775"/>
              <a:gd name="T46" fmla="*/ 236163 w 739775"/>
              <a:gd name="T47" fmla="*/ 714769 h 739775"/>
              <a:gd name="T48" fmla="*/ 278768 w 739775"/>
              <a:gd name="T49" fmla="*/ 728368 h 739775"/>
              <a:gd name="T50" fmla="*/ 323440 w 739775"/>
              <a:gd name="T51" fmla="*/ 736781 h 739775"/>
              <a:gd name="T52" fmla="*/ 369831 w 739775"/>
              <a:gd name="T53" fmla="*/ 739663 h 739775"/>
              <a:gd name="T54" fmla="*/ 416223 w 739775"/>
              <a:gd name="T55" fmla="*/ 736781 h 739775"/>
              <a:gd name="T56" fmla="*/ 460894 w 739775"/>
              <a:gd name="T57" fmla="*/ 728368 h 739775"/>
              <a:gd name="T58" fmla="*/ 503500 w 739775"/>
              <a:gd name="T59" fmla="*/ 714769 h 739775"/>
              <a:gd name="T60" fmla="*/ 543692 w 739775"/>
              <a:gd name="T61" fmla="*/ 696332 h 739775"/>
              <a:gd name="T62" fmla="*/ 581125 w 739775"/>
              <a:gd name="T63" fmla="*/ 673402 h 739775"/>
              <a:gd name="T64" fmla="*/ 615452 w 739775"/>
              <a:gd name="T65" fmla="*/ 646327 h 739775"/>
              <a:gd name="T66" fmla="*/ 646327 w 739775"/>
              <a:gd name="T67" fmla="*/ 615452 h 739775"/>
              <a:gd name="T68" fmla="*/ 673402 w 739775"/>
              <a:gd name="T69" fmla="*/ 581125 h 739775"/>
              <a:gd name="T70" fmla="*/ 696332 w 739775"/>
              <a:gd name="T71" fmla="*/ 543692 h 739775"/>
              <a:gd name="T72" fmla="*/ 714769 w 739775"/>
              <a:gd name="T73" fmla="*/ 503500 h 739775"/>
              <a:gd name="T74" fmla="*/ 728368 w 739775"/>
              <a:gd name="T75" fmla="*/ 460894 h 739775"/>
              <a:gd name="T76" fmla="*/ 736781 w 739775"/>
              <a:gd name="T77" fmla="*/ 416223 h 739775"/>
              <a:gd name="T78" fmla="*/ 739663 w 739775"/>
              <a:gd name="T79" fmla="*/ 369831 h 739775"/>
              <a:gd name="T80" fmla="*/ 736781 w 739775"/>
              <a:gd name="T81" fmla="*/ 323442 h 739775"/>
              <a:gd name="T82" fmla="*/ 728368 w 739775"/>
              <a:gd name="T83" fmla="*/ 278771 h 739775"/>
              <a:gd name="T84" fmla="*/ 714769 w 739775"/>
              <a:gd name="T85" fmla="*/ 236167 h 739775"/>
              <a:gd name="T86" fmla="*/ 696332 w 739775"/>
              <a:gd name="T87" fmla="*/ 195975 h 739775"/>
              <a:gd name="T88" fmla="*/ 673402 w 739775"/>
              <a:gd name="T89" fmla="*/ 158542 h 739775"/>
              <a:gd name="T90" fmla="*/ 646327 w 739775"/>
              <a:gd name="T91" fmla="*/ 124214 h 739775"/>
              <a:gd name="T92" fmla="*/ 615452 w 739775"/>
              <a:gd name="T93" fmla="*/ 93339 h 739775"/>
              <a:gd name="T94" fmla="*/ 581125 w 739775"/>
              <a:gd name="T95" fmla="*/ 66263 h 739775"/>
              <a:gd name="T96" fmla="*/ 543692 w 739775"/>
              <a:gd name="T97" fmla="*/ 43333 h 739775"/>
              <a:gd name="T98" fmla="*/ 503500 w 739775"/>
              <a:gd name="T99" fmla="*/ 24894 h 739775"/>
              <a:gd name="T100" fmla="*/ 460894 w 739775"/>
              <a:gd name="T101" fmla="*/ 11295 h 739775"/>
              <a:gd name="T102" fmla="*/ 416223 w 739775"/>
              <a:gd name="T103" fmla="*/ 2881 h 739775"/>
              <a:gd name="T104" fmla="*/ 369831 w 739775"/>
              <a:gd name="T105" fmla="*/ 0 h 7397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739775" h="739775">
                <a:moveTo>
                  <a:pt x="369831" y="0"/>
                </a:moveTo>
                <a:lnTo>
                  <a:pt x="323440" y="2881"/>
                </a:lnTo>
                <a:lnTo>
                  <a:pt x="278768" y="11295"/>
                </a:lnTo>
                <a:lnTo>
                  <a:pt x="236163" y="24894"/>
                </a:lnTo>
                <a:lnTo>
                  <a:pt x="195970" y="43333"/>
                </a:lnTo>
                <a:lnTo>
                  <a:pt x="158537" y="66263"/>
                </a:lnTo>
                <a:lnTo>
                  <a:pt x="124210" y="93339"/>
                </a:lnTo>
                <a:lnTo>
                  <a:pt x="93335" y="124214"/>
                </a:lnTo>
                <a:lnTo>
                  <a:pt x="66260" y="158542"/>
                </a:lnTo>
                <a:lnTo>
                  <a:pt x="43330" y="195975"/>
                </a:lnTo>
                <a:lnTo>
                  <a:pt x="24893" y="236167"/>
                </a:lnTo>
                <a:lnTo>
                  <a:pt x="11294" y="278771"/>
                </a:lnTo>
                <a:lnTo>
                  <a:pt x="2881" y="323442"/>
                </a:lnTo>
                <a:lnTo>
                  <a:pt x="0" y="369831"/>
                </a:lnTo>
                <a:lnTo>
                  <a:pt x="2881" y="416223"/>
                </a:lnTo>
                <a:lnTo>
                  <a:pt x="11294" y="460894"/>
                </a:lnTo>
                <a:lnTo>
                  <a:pt x="24893" y="503500"/>
                </a:lnTo>
                <a:lnTo>
                  <a:pt x="43330" y="543692"/>
                </a:lnTo>
                <a:lnTo>
                  <a:pt x="66260" y="581125"/>
                </a:lnTo>
                <a:lnTo>
                  <a:pt x="93335" y="615452"/>
                </a:lnTo>
                <a:lnTo>
                  <a:pt x="124210" y="646327"/>
                </a:lnTo>
                <a:lnTo>
                  <a:pt x="158537" y="673402"/>
                </a:lnTo>
                <a:lnTo>
                  <a:pt x="195970" y="696332"/>
                </a:lnTo>
                <a:lnTo>
                  <a:pt x="236163" y="714769"/>
                </a:lnTo>
                <a:lnTo>
                  <a:pt x="278768" y="728368"/>
                </a:lnTo>
                <a:lnTo>
                  <a:pt x="323440" y="736781"/>
                </a:lnTo>
                <a:lnTo>
                  <a:pt x="369831" y="739663"/>
                </a:lnTo>
                <a:lnTo>
                  <a:pt x="416223" y="736781"/>
                </a:lnTo>
                <a:lnTo>
                  <a:pt x="460894" y="728368"/>
                </a:lnTo>
                <a:lnTo>
                  <a:pt x="503500" y="714769"/>
                </a:lnTo>
                <a:lnTo>
                  <a:pt x="543692" y="696332"/>
                </a:lnTo>
                <a:lnTo>
                  <a:pt x="581125" y="673402"/>
                </a:lnTo>
                <a:lnTo>
                  <a:pt x="615452" y="646327"/>
                </a:lnTo>
                <a:lnTo>
                  <a:pt x="646327" y="615452"/>
                </a:lnTo>
                <a:lnTo>
                  <a:pt x="673402" y="581125"/>
                </a:lnTo>
                <a:lnTo>
                  <a:pt x="696332" y="543692"/>
                </a:lnTo>
                <a:lnTo>
                  <a:pt x="714769" y="503500"/>
                </a:lnTo>
                <a:lnTo>
                  <a:pt x="728368" y="460894"/>
                </a:lnTo>
                <a:lnTo>
                  <a:pt x="736781" y="416223"/>
                </a:lnTo>
                <a:lnTo>
                  <a:pt x="739663" y="369831"/>
                </a:lnTo>
                <a:lnTo>
                  <a:pt x="736781" y="323442"/>
                </a:lnTo>
                <a:lnTo>
                  <a:pt x="728368" y="278771"/>
                </a:lnTo>
                <a:lnTo>
                  <a:pt x="714769" y="236167"/>
                </a:lnTo>
                <a:lnTo>
                  <a:pt x="696332" y="195975"/>
                </a:lnTo>
                <a:lnTo>
                  <a:pt x="673402" y="158542"/>
                </a:lnTo>
                <a:lnTo>
                  <a:pt x="646327" y="124214"/>
                </a:lnTo>
                <a:lnTo>
                  <a:pt x="615452" y="93339"/>
                </a:lnTo>
                <a:lnTo>
                  <a:pt x="581125" y="66263"/>
                </a:lnTo>
                <a:lnTo>
                  <a:pt x="543692" y="43333"/>
                </a:lnTo>
                <a:lnTo>
                  <a:pt x="503500" y="24894"/>
                </a:lnTo>
                <a:lnTo>
                  <a:pt x="460894" y="11295"/>
                </a:lnTo>
                <a:lnTo>
                  <a:pt x="416223" y="2881"/>
                </a:lnTo>
                <a:lnTo>
                  <a:pt x="369831" y="0"/>
                </a:lnTo>
                <a:close/>
              </a:path>
            </a:pathLst>
          </a:custGeom>
          <a:solidFill>
            <a:srgbClr val="E5E5E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en-AU"/>
          </a:p>
        </p:txBody>
      </p:sp>
      <p:sp>
        <p:nvSpPr>
          <p:cNvPr id="9" name="object 21">
            <a:extLst>
              <a:ext uri="{FF2B5EF4-FFF2-40B4-BE49-F238E27FC236}">
                <a16:creationId xmlns:a16="http://schemas.microsoft.com/office/drawing/2014/main" id="{BC5F4043-94EE-A505-4A35-125E1719BCE2}"/>
              </a:ext>
            </a:extLst>
          </p:cNvPr>
          <p:cNvSpPr txBox="1"/>
          <p:nvPr userDrawn="1"/>
        </p:nvSpPr>
        <p:spPr>
          <a:xfrm>
            <a:off x="8164513" y="6727825"/>
            <a:ext cx="493712" cy="177800"/>
          </a:xfrm>
          <a:prstGeom prst="rect">
            <a:avLst/>
          </a:prstGeom>
        </p:spPr>
        <p:txBody>
          <a:bodyPr lIns="0" tIns="15875" rIns="0" bIns="0">
            <a:spAutoFit/>
          </a:bodyPr>
          <a:lstStyle/>
          <a:p>
            <a:pPr marL="12700" algn="ctr" eaLnBrk="1" fontAlgn="auto" hangingPunct="1">
              <a:spcBef>
                <a:spcPts val="125"/>
              </a:spcBef>
              <a:spcAft>
                <a:spcPts val="0"/>
              </a:spcAft>
              <a:defRPr/>
            </a:pPr>
            <a:r>
              <a:rPr lang="it-IT" sz="1050" b="1" spc="135" dirty="0">
                <a:latin typeface="Helvetica Neue"/>
                <a:cs typeface="Helvetica Neue"/>
              </a:rPr>
              <a:t>ALKO</a:t>
            </a:r>
            <a:endParaRPr sz="1050" dirty="0">
              <a:latin typeface="Helvetica Neue"/>
              <a:cs typeface="Helvetica Neue"/>
            </a:endParaRPr>
          </a:p>
        </p:txBody>
      </p:sp>
      <p:sp>
        <p:nvSpPr>
          <p:cNvPr id="10" name="object 24">
            <a:extLst>
              <a:ext uri="{FF2B5EF4-FFF2-40B4-BE49-F238E27FC236}">
                <a16:creationId xmlns:a16="http://schemas.microsoft.com/office/drawing/2014/main" id="{551BD209-1508-CBC3-FD8C-D4852EFF1930}"/>
              </a:ext>
            </a:extLst>
          </p:cNvPr>
          <p:cNvSpPr>
            <a:spLocks/>
          </p:cNvSpPr>
          <p:nvPr userDrawn="1"/>
        </p:nvSpPr>
        <p:spPr bwMode="auto">
          <a:xfrm>
            <a:off x="8042275" y="7342188"/>
            <a:ext cx="739775" cy="739775"/>
          </a:xfrm>
          <a:custGeom>
            <a:avLst/>
            <a:gdLst>
              <a:gd name="T0" fmla="*/ 369831 w 739775"/>
              <a:gd name="T1" fmla="*/ 0 h 739775"/>
              <a:gd name="T2" fmla="*/ 323440 w 739775"/>
              <a:gd name="T3" fmla="*/ 2881 h 739775"/>
              <a:gd name="T4" fmla="*/ 278768 w 739775"/>
              <a:gd name="T5" fmla="*/ 11295 h 739775"/>
              <a:gd name="T6" fmla="*/ 236163 w 739775"/>
              <a:gd name="T7" fmla="*/ 24894 h 739775"/>
              <a:gd name="T8" fmla="*/ 195970 w 739775"/>
              <a:gd name="T9" fmla="*/ 43333 h 739775"/>
              <a:gd name="T10" fmla="*/ 158537 w 739775"/>
              <a:gd name="T11" fmla="*/ 66263 h 739775"/>
              <a:gd name="T12" fmla="*/ 124210 w 739775"/>
              <a:gd name="T13" fmla="*/ 93339 h 739775"/>
              <a:gd name="T14" fmla="*/ 93335 w 739775"/>
              <a:gd name="T15" fmla="*/ 124214 h 739775"/>
              <a:gd name="T16" fmla="*/ 66260 w 739775"/>
              <a:gd name="T17" fmla="*/ 158542 h 739775"/>
              <a:gd name="T18" fmla="*/ 43330 w 739775"/>
              <a:gd name="T19" fmla="*/ 195975 h 739775"/>
              <a:gd name="T20" fmla="*/ 24893 w 739775"/>
              <a:gd name="T21" fmla="*/ 236167 h 739775"/>
              <a:gd name="T22" fmla="*/ 11294 w 739775"/>
              <a:gd name="T23" fmla="*/ 278771 h 739775"/>
              <a:gd name="T24" fmla="*/ 2881 w 739775"/>
              <a:gd name="T25" fmla="*/ 323442 h 739775"/>
              <a:gd name="T26" fmla="*/ 0 w 739775"/>
              <a:gd name="T27" fmla="*/ 369831 h 739775"/>
              <a:gd name="T28" fmla="*/ 2881 w 739775"/>
              <a:gd name="T29" fmla="*/ 416223 h 739775"/>
              <a:gd name="T30" fmla="*/ 11294 w 739775"/>
              <a:gd name="T31" fmla="*/ 460894 h 739775"/>
              <a:gd name="T32" fmla="*/ 24893 w 739775"/>
              <a:gd name="T33" fmla="*/ 503500 h 739775"/>
              <a:gd name="T34" fmla="*/ 43330 w 739775"/>
              <a:gd name="T35" fmla="*/ 543692 h 739775"/>
              <a:gd name="T36" fmla="*/ 66260 w 739775"/>
              <a:gd name="T37" fmla="*/ 581125 h 739775"/>
              <a:gd name="T38" fmla="*/ 93335 w 739775"/>
              <a:gd name="T39" fmla="*/ 615452 h 739775"/>
              <a:gd name="T40" fmla="*/ 124210 w 739775"/>
              <a:gd name="T41" fmla="*/ 646327 h 739775"/>
              <a:gd name="T42" fmla="*/ 158537 w 739775"/>
              <a:gd name="T43" fmla="*/ 673402 h 739775"/>
              <a:gd name="T44" fmla="*/ 195970 w 739775"/>
              <a:gd name="T45" fmla="*/ 696332 h 739775"/>
              <a:gd name="T46" fmla="*/ 236163 w 739775"/>
              <a:gd name="T47" fmla="*/ 714769 h 739775"/>
              <a:gd name="T48" fmla="*/ 278768 w 739775"/>
              <a:gd name="T49" fmla="*/ 728368 h 739775"/>
              <a:gd name="T50" fmla="*/ 323440 w 739775"/>
              <a:gd name="T51" fmla="*/ 736781 h 739775"/>
              <a:gd name="T52" fmla="*/ 369831 w 739775"/>
              <a:gd name="T53" fmla="*/ 739663 h 739775"/>
              <a:gd name="T54" fmla="*/ 416223 w 739775"/>
              <a:gd name="T55" fmla="*/ 736781 h 739775"/>
              <a:gd name="T56" fmla="*/ 460894 w 739775"/>
              <a:gd name="T57" fmla="*/ 728368 h 739775"/>
              <a:gd name="T58" fmla="*/ 503500 w 739775"/>
              <a:gd name="T59" fmla="*/ 714769 h 739775"/>
              <a:gd name="T60" fmla="*/ 543692 w 739775"/>
              <a:gd name="T61" fmla="*/ 696332 h 739775"/>
              <a:gd name="T62" fmla="*/ 581125 w 739775"/>
              <a:gd name="T63" fmla="*/ 673402 h 739775"/>
              <a:gd name="T64" fmla="*/ 615452 w 739775"/>
              <a:gd name="T65" fmla="*/ 646327 h 739775"/>
              <a:gd name="T66" fmla="*/ 646327 w 739775"/>
              <a:gd name="T67" fmla="*/ 615452 h 739775"/>
              <a:gd name="T68" fmla="*/ 673402 w 739775"/>
              <a:gd name="T69" fmla="*/ 581125 h 739775"/>
              <a:gd name="T70" fmla="*/ 696332 w 739775"/>
              <a:gd name="T71" fmla="*/ 543692 h 739775"/>
              <a:gd name="T72" fmla="*/ 714769 w 739775"/>
              <a:gd name="T73" fmla="*/ 503500 h 739775"/>
              <a:gd name="T74" fmla="*/ 728368 w 739775"/>
              <a:gd name="T75" fmla="*/ 460894 h 739775"/>
              <a:gd name="T76" fmla="*/ 736781 w 739775"/>
              <a:gd name="T77" fmla="*/ 416223 h 739775"/>
              <a:gd name="T78" fmla="*/ 739663 w 739775"/>
              <a:gd name="T79" fmla="*/ 369831 h 739775"/>
              <a:gd name="T80" fmla="*/ 736781 w 739775"/>
              <a:gd name="T81" fmla="*/ 323442 h 739775"/>
              <a:gd name="T82" fmla="*/ 728368 w 739775"/>
              <a:gd name="T83" fmla="*/ 278771 h 739775"/>
              <a:gd name="T84" fmla="*/ 714769 w 739775"/>
              <a:gd name="T85" fmla="*/ 236167 h 739775"/>
              <a:gd name="T86" fmla="*/ 696332 w 739775"/>
              <a:gd name="T87" fmla="*/ 195975 h 739775"/>
              <a:gd name="T88" fmla="*/ 673402 w 739775"/>
              <a:gd name="T89" fmla="*/ 158542 h 739775"/>
              <a:gd name="T90" fmla="*/ 646327 w 739775"/>
              <a:gd name="T91" fmla="*/ 124214 h 739775"/>
              <a:gd name="T92" fmla="*/ 615452 w 739775"/>
              <a:gd name="T93" fmla="*/ 93339 h 739775"/>
              <a:gd name="T94" fmla="*/ 581125 w 739775"/>
              <a:gd name="T95" fmla="*/ 66263 h 739775"/>
              <a:gd name="T96" fmla="*/ 543692 w 739775"/>
              <a:gd name="T97" fmla="*/ 43333 h 739775"/>
              <a:gd name="T98" fmla="*/ 503500 w 739775"/>
              <a:gd name="T99" fmla="*/ 24894 h 739775"/>
              <a:gd name="T100" fmla="*/ 460894 w 739775"/>
              <a:gd name="T101" fmla="*/ 11295 h 739775"/>
              <a:gd name="T102" fmla="*/ 416223 w 739775"/>
              <a:gd name="T103" fmla="*/ 2881 h 739775"/>
              <a:gd name="T104" fmla="*/ 369831 w 739775"/>
              <a:gd name="T105" fmla="*/ 0 h 7397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739775" h="739775">
                <a:moveTo>
                  <a:pt x="369831" y="0"/>
                </a:moveTo>
                <a:lnTo>
                  <a:pt x="323440" y="2881"/>
                </a:lnTo>
                <a:lnTo>
                  <a:pt x="278768" y="11295"/>
                </a:lnTo>
                <a:lnTo>
                  <a:pt x="236163" y="24894"/>
                </a:lnTo>
                <a:lnTo>
                  <a:pt x="195970" y="43333"/>
                </a:lnTo>
                <a:lnTo>
                  <a:pt x="158537" y="66263"/>
                </a:lnTo>
                <a:lnTo>
                  <a:pt x="124210" y="93339"/>
                </a:lnTo>
                <a:lnTo>
                  <a:pt x="93335" y="124214"/>
                </a:lnTo>
                <a:lnTo>
                  <a:pt x="66260" y="158542"/>
                </a:lnTo>
                <a:lnTo>
                  <a:pt x="43330" y="195975"/>
                </a:lnTo>
                <a:lnTo>
                  <a:pt x="24893" y="236167"/>
                </a:lnTo>
                <a:lnTo>
                  <a:pt x="11294" y="278771"/>
                </a:lnTo>
                <a:lnTo>
                  <a:pt x="2881" y="323442"/>
                </a:lnTo>
                <a:lnTo>
                  <a:pt x="0" y="369831"/>
                </a:lnTo>
                <a:lnTo>
                  <a:pt x="2881" y="416223"/>
                </a:lnTo>
                <a:lnTo>
                  <a:pt x="11294" y="460894"/>
                </a:lnTo>
                <a:lnTo>
                  <a:pt x="24893" y="503500"/>
                </a:lnTo>
                <a:lnTo>
                  <a:pt x="43330" y="543692"/>
                </a:lnTo>
                <a:lnTo>
                  <a:pt x="66260" y="581125"/>
                </a:lnTo>
                <a:lnTo>
                  <a:pt x="93335" y="615452"/>
                </a:lnTo>
                <a:lnTo>
                  <a:pt x="124210" y="646327"/>
                </a:lnTo>
                <a:lnTo>
                  <a:pt x="158537" y="673402"/>
                </a:lnTo>
                <a:lnTo>
                  <a:pt x="195970" y="696332"/>
                </a:lnTo>
                <a:lnTo>
                  <a:pt x="236163" y="714769"/>
                </a:lnTo>
                <a:lnTo>
                  <a:pt x="278768" y="728368"/>
                </a:lnTo>
                <a:lnTo>
                  <a:pt x="323440" y="736781"/>
                </a:lnTo>
                <a:lnTo>
                  <a:pt x="369831" y="739663"/>
                </a:lnTo>
                <a:lnTo>
                  <a:pt x="416223" y="736781"/>
                </a:lnTo>
                <a:lnTo>
                  <a:pt x="460894" y="728368"/>
                </a:lnTo>
                <a:lnTo>
                  <a:pt x="503500" y="714769"/>
                </a:lnTo>
                <a:lnTo>
                  <a:pt x="543692" y="696332"/>
                </a:lnTo>
                <a:lnTo>
                  <a:pt x="581125" y="673402"/>
                </a:lnTo>
                <a:lnTo>
                  <a:pt x="615452" y="646327"/>
                </a:lnTo>
                <a:lnTo>
                  <a:pt x="646327" y="615452"/>
                </a:lnTo>
                <a:lnTo>
                  <a:pt x="673402" y="581125"/>
                </a:lnTo>
                <a:lnTo>
                  <a:pt x="696332" y="543692"/>
                </a:lnTo>
                <a:lnTo>
                  <a:pt x="714769" y="503500"/>
                </a:lnTo>
                <a:lnTo>
                  <a:pt x="728368" y="460894"/>
                </a:lnTo>
                <a:lnTo>
                  <a:pt x="736781" y="416223"/>
                </a:lnTo>
                <a:lnTo>
                  <a:pt x="739663" y="369831"/>
                </a:lnTo>
                <a:lnTo>
                  <a:pt x="736781" y="323442"/>
                </a:lnTo>
                <a:lnTo>
                  <a:pt x="728368" y="278771"/>
                </a:lnTo>
                <a:lnTo>
                  <a:pt x="714769" y="236167"/>
                </a:lnTo>
                <a:lnTo>
                  <a:pt x="696332" y="195975"/>
                </a:lnTo>
                <a:lnTo>
                  <a:pt x="673402" y="158542"/>
                </a:lnTo>
                <a:lnTo>
                  <a:pt x="646327" y="124214"/>
                </a:lnTo>
                <a:lnTo>
                  <a:pt x="615452" y="93339"/>
                </a:lnTo>
                <a:lnTo>
                  <a:pt x="581125" y="66263"/>
                </a:lnTo>
                <a:lnTo>
                  <a:pt x="543692" y="43333"/>
                </a:lnTo>
                <a:lnTo>
                  <a:pt x="503500" y="24894"/>
                </a:lnTo>
                <a:lnTo>
                  <a:pt x="460894" y="11295"/>
                </a:lnTo>
                <a:lnTo>
                  <a:pt x="416223" y="2881"/>
                </a:lnTo>
                <a:lnTo>
                  <a:pt x="369831" y="0"/>
                </a:lnTo>
                <a:close/>
              </a:path>
            </a:pathLst>
          </a:custGeom>
          <a:solidFill>
            <a:srgbClr val="E5E5E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en-AU"/>
          </a:p>
        </p:txBody>
      </p:sp>
      <p:sp>
        <p:nvSpPr>
          <p:cNvPr id="11" name="object 25">
            <a:extLst>
              <a:ext uri="{FF2B5EF4-FFF2-40B4-BE49-F238E27FC236}">
                <a16:creationId xmlns:a16="http://schemas.microsoft.com/office/drawing/2014/main" id="{3AC7EF25-07E9-5B42-E6F3-461F6FC61458}"/>
              </a:ext>
            </a:extLst>
          </p:cNvPr>
          <p:cNvSpPr txBox="1"/>
          <p:nvPr userDrawn="1"/>
        </p:nvSpPr>
        <p:spPr>
          <a:xfrm>
            <a:off x="8172450" y="7631113"/>
            <a:ext cx="479425" cy="176212"/>
          </a:xfrm>
          <a:prstGeom prst="rect">
            <a:avLst/>
          </a:prstGeom>
        </p:spPr>
        <p:txBody>
          <a:bodyPr lIns="0" tIns="15875" rIns="0" bIns="0">
            <a:spAutoFit/>
          </a:bodyPr>
          <a:lstStyle/>
          <a:p>
            <a:pPr marL="12700" algn="ctr" eaLnBrk="1" fontAlgn="auto" hangingPunct="1">
              <a:spcBef>
                <a:spcPts val="125"/>
              </a:spcBef>
              <a:spcAft>
                <a:spcPts val="0"/>
              </a:spcAft>
              <a:defRPr/>
            </a:pPr>
            <a:r>
              <a:rPr lang="it-IT" sz="1050" b="1" spc="135" dirty="0">
                <a:latin typeface="Helvetica Neue"/>
                <a:cs typeface="Helvetica Neue"/>
              </a:rPr>
              <a:t>ALDE</a:t>
            </a:r>
            <a:endParaRPr sz="1050" dirty="0">
              <a:latin typeface="Helvetica Neue"/>
              <a:cs typeface="Helvetica Neue"/>
            </a:endParaRPr>
          </a:p>
        </p:txBody>
      </p:sp>
      <p:sp>
        <p:nvSpPr>
          <p:cNvPr id="12" name="Holder 2">
            <a:extLst>
              <a:ext uri="{FF2B5EF4-FFF2-40B4-BE49-F238E27FC236}">
                <a16:creationId xmlns:a16="http://schemas.microsoft.com/office/drawing/2014/main" id="{4446703F-B9C6-1DE9-C0C2-B978ECEFF9D4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0858500" y="3167063"/>
            <a:ext cx="6376988" cy="914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/>
            <a:endParaRPr lang="sl-SI" altLang="sl-SI" sz="2600" b="1" u="sng">
              <a:solidFill>
                <a:srgbClr val="000000"/>
              </a:solidFill>
              <a:latin typeface="Helvetica" panose="020B0604020202020204" pitchFamily="34" charset="0"/>
            </a:endParaRPr>
          </a:p>
        </p:txBody>
      </p:sp>
      <p:sp>
        <p:nvSpPr>
          <p:cNvPr id="13" name="object 20">
            <a:extLst>
              <a:ext uri="{FF2B5EF4-FFF2-40B4-BE49-F238E27FC236}">
                <a16:creationId xmlns:a16="http://schemas.microsoft.com/office/drawing/2014/main" id="{1AED7C6E-2747-E83B-6D1E-60B9944D97D4}"/>
              </a:ext>
            </a:extLst>
          </p:cNvPr>
          <p:cNvSpPr>
            <a:spLocks/>
          </p:cNvSpPr>
          <p:nvPr userDrawn="1"/>
        </p:nvSpPr>
        <p:spPr bwMode="auto">
          <a:xfrm>
            <a:off x="17365663" y="6440488"/>
            <a:ext cx="739775" cy="739775"/>
          </a:xfrm>
          <a:custGeom>
            <a:avLst/>
            <a:gdLst>
              <a:gd name="T0" fmla="*/ 369831 w 739775"/>
              <a:gd name="T1" fmla="*/ 0 h 739775"/>
              <a:gd name="T2" fmla="*/ 323440 w 739775"/>
              <a:gd name="T3" fmla="*/ 2881 h 739775"/>
              <a:gd name="T4" fmla="*/ 278768 w 739775"/>
              <a:gd name="T5" fmla="*/ 11295 h 739775"/>
              <a:gd name="T6" fmla="*/ 236163 w 739775"/>
              <a:gd name="T7" fmla="*/ 24894 h 739775"/>
              <a:gd name="T8" fmla="*/ 195970 w 739775"/>
              <a:gd name="T9" fmla="*/ 43333 h 739775"/>
              <a:gd name="T10" fmla="*/ 158537 w 739775"/>
              <a:gd name="T11" fmla="*/ 66263 h 739775"/>
              <a:gd name="T12" fmla="*/ 124210 w 739775"/>
              <a:gd name="T13" fmla="*/ 93339 h 739775"/>
              <a:gd name="T14" fmla="*/ 93335 w 739775"/>
              <a:gd name="T15" fmla="*/ 124214 h 739775"/>
              <a:gd name="T16" fmla="*/ 66260 w 739775"/>
              <a:gd name="T17" fmla="*/ 158542 h 739775"/>
              <a:gd name="T18" fmla="*/ 43330 w 739775"/>
              <a:gd name="T19" fmla="*/ 195975 h 739775"/>
              <a:gd name="T20" fmla="*/ 24893 w 739775"/>
              <a:gd name="T21" fmla="*/ 236167 h 739775"/>
              <a:gd name="T22" fmla="*/ 11294 w 739775"/>
              <a:gd name="T23" fmla="*/ 278771 h 739775"/>
              <a:gd name="T24" fmla="*/ 2881 w 739775"/>
              <a:gd name="T25" fmla="*/ 323442 h 739775"/>
              <a:gd name="T26" fmla="*/ 0 w 739775"/>
              <a:gd name="T27" fmla="*/ 369831 h 739775"/>
              <a:gd name="T28" fmla="*/ 2881 w 739775"/>
              <a:gd name="T29" fmla="*/ 416223 h 739775"/>
              <a:gd name="T30" fmla="*/ 11294 w 739775"/>
              <a:gd name="T31" fmla="*/ 460894 h 739775"/>
              <a:gd name="T32" fmla="*/ 24893 w 739775"/>
              <a:gd name="T33" fmla="*/ 503500 h 739775"/>
              <a:gd name="T34" fmla="*/ 43330 w 739775"/>
              <a:gd name="T35" fmla="*/ 543692 h 739775"/>
              <a:gd name="T36" fmla="*/ 66260 w 739775"/>
              <a:gd name="T37" fmla="*/ 581125 h 739775"/>
              <a:gd name="T38" fmla="*/ 93335 w 739775"/>
              <a:gd name="T39" fmla="*/ 615452 h 739775"/>
              <a:gd name="T40" fmla="*/ 124210 w 739775"/>
              <a:gd name="T41" fmla="*/ 646327 h 739775"/>
              <a:gd name="T42" fmla="*/ 158537 w 739775"/>
              <a:gd name="T43" fmla="*/ 673402 h 739775"/>
              <a:gd name="T44" fmla="*/ 195970 w 739775"/>
              <a:gd name="T45" fmla="*/ 696332 h 739775"/>
              <a:gd name="T46" fmla="*/ 236163 w 739775"/>
              <a:gd name="T47" fmla="*/ 714769 h 739775"/>
              <a:gd name="T48" fmla="*/ 278768 w 739775"/>
              <a:gd name="T49" fmla="*/ 728368 h 739775"/>
              <a:gd name="T50" fmla="*/ 323440 w 739775"/>
              <a:gd name="T51" fmla="*/ 736781 h 739775"/>
              <a:gd name="T52" fmla="*/ 369831 w 739775"/>
              <a:gd name="T53" fmla="*/ 739663 h 739775"/>
              <a:gd name="T54" fmla="*/ 416223 w 739775"/>
              <a:gd name="T55" fmla="*/ 736781 h 739775"/>
              <a:gd name="T56" fmla="*/ 460894 w 739775"/>
              <a:gd name="T57" fmla="*/ 728368 h 739775"/>
              <a:gd name="T58" fmla="*/ 503500 w 739775"/>
              <a:gd name="T59" fmla="*/ 714769 h 739775"/>
              <a:gd name="T60" fmla="*/ 543692 w 739775"/>
              <a:gd name="T61" fmla="*/ 696332 h 739775"/>
              <a:gd name="T62" fmla="*/ 581125 w 739775"/>
              <a:gd name="T63" fmla="*/ 673402 h 739775"/>
              <a:gd name="T64" fmla="*/ 615452 w 739775"/>
              <a:gd name="T65" fmla="*/ 646327 h 739775"/>
              <a:gd name="T66" fmla="*/ 646327 w 739775"/>
              <a:gd name="T67" fmla="*/ 615452 h 739775"/>
              <a:gd name="T68" fmla="*/ 673402 w 739775"/>
              <a:gd name="T69" fmla="*/ 581125 h 739775"/>
              <a:gd name="T70" fmla="*/ 696332 w 739775"/>
              <a:gd name="T71" fmla="*/ 543692 h 739775"/>
              <a:gd name="T72" fmla="*/ 714769 w 739775"/>
              <a:gd name="T73" fmla="*/ 503500 h 739775"/>
              <a:gd name="T74" fmla="*/ 728368 w 739775"/>
              <a:gd name="T75" fmla="*/ 460894 h 739775"/>
              <a:gd name="T76" fmla="*/ 736781 w 739775"/>
              <a:gd name="T77" fmla="*/ 416223 h 739775"/>
              <a:gd name="T78" fmla="*/ 739663 w 739775"/>
              <a:gd name="T79" fmla="*/ 369831 h 739775"/>
              <a:gd name="T80" fmla="*/ 736781 w 739775"/>
              <a:gd name="T81" fmla="*/ 323442 h 739775"/>
              <a:gd name="T82" fmla="*/ 728368 w 739775"/>
              <a:gd name="T83" fmla="*/ 278771 h 739775"/>
              <a:gd name="T84" fmla="*/ 714769 w 739775"/>
              <a:gd name="T85" fmla="*/ 236167 h 739775"/>
              <a:gd name="T86" fmla="*/ 696332 w 739775"/>
              <a:gd name="T87" fmla="*/ 195975 h 739775"/>
              <a:gd name="T88" fmla="*/ 673402 w 739775"/>
              <a:gd name="T89" fmla="*/ 158542 h 739775"/>
              <a:gd name="T90" fmla="*/ 646327 w 739775"/>
              <a:gd name="T91" fmla="*/ 124214 h 739775"/>
              <a:gd name="T92" fmla="*/ 615452 w 739775"/>
              <a:gd name="T93" fmla="*/ 93339 h 739775"/>
              <a:gd name="T94" fmla="*/ 581125 w 739775"/>
              <a:gd name="T95" fmla="*/ 66263 h 739775"/>
              <a:gd name="T96" fmla="*/ 543692 w 739775"/>
              <a:gd name="T97" fmla="*/ 43333 h 739775"/>
              <a:gd name="T98" fmla="*/ 503500 w 739775"/>
              <a:gd name="T99" fmla="*/ 24894 h 739775"/>
              <a:gd name="T100" fmla="*/ 460894 w 739775"/>
              <a:gd name="T101" fmla="*/ 11295 h 739775"/>
              <a:gd name="T102" fmla="*/ 416223 w 739775"/>
              <a:gd name="T103" fmla="*/ 2881 h 739775"/>
              <a:gd name="T104" fmla="*/ 369831 w 739775"/>
              <a:gd name="T105" fmla="*/ 0 h 7397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739775" h="739775">
                <a:moveTo>
                  <a:pt x="369831" y="0"/>
                </a:moveTo>
                <a:lnTo>
                  <a:pt x="323440" y="2881"/>
                </a:lnTo>
                <a:lnTo>
                  <a:pt x="278768" y="11295"/>
                </a:lnTo>
                <a:lnTo>
                  <a:pt x="236163" y="24894"/>
                </a:lnTo>
                <a:lnTo>
                  <a:pt x="195970" y="43333"/>
                </a:lnTo>
                <a:lnTo>
                  <a:pt x="158537" y="66263"/>
                </a:lnTo>
                <a:lnTo>
                  <a:pt x="124210" y="93339"/>
                </a:lnTo>
                <a:lnTo>
                  <a:pt x="93335" y="124214"/>
                </a:lnTo>
                <a:lnTo>
                  <a:pt x="66260" y="158542"/>
                </a:lnTo>
                <a:lnTo>
                  <a:pt x="43330" y="195975"/>
                </a:lnTo>
                <a:lnTo>
                  <a:pt x="24893" y="236167"/>
                </a:lnTo>
                <a:lnTo>
                  <a:pt x="11294" y="278771"/>
                </a:lnTo>
                <a:lnTo>
                  <a:pt x="2881" y="323442"/>
                </a:lnTo>
                <a:lnTo>
                  <a:pt x="0" y="369831"/>
                </a:lnTo>
                <a:lnTo>
                  <a:pt x="2881" y="416223"/>
                </a:lnTo>
                <a:lnTo>
                  <a:pt x="11294" y="460894"/>
                </a:lnTo>
                <a:lnTo>
                  <a:pt x="24893" y="503500"/>
                </a:lnTo>
                <a:lnTo>
                  <a:pt x="43330" y="543692"/>
                </a:lnTo>
                <a:lnTo>
                  <a:pt x="66260" y="581125"/>
                </a:lnTo>
                <a:lnTo>
                  <a:pt x="93335" y="615452"/>
                </a:lnTo>
                <a:lnTo>
                  <a:pt x="124210" y="646327"/>
                </a:lnTo>
                <a:lnTo>
                  <a:pt x="158537" y="673402"/>
                </a:lnTo>
                <a:lnTo>
                  <a:pt x="195970" y="696332"/>
                </a:lnTo>
                <a:lnTo>
                  <a:pt x="236163" y="714769"/>
                </a:lnTo>
                <a:lnTo>
                  <a:pt x="278768" y="728368"/>
                </a:lnTo>
                <a:lnTo>
                  <a:pt x="323440" y="736781"/>
                </a:lnTo>
                <a:lnTo>
                  <a:pt x="369831" y="739663"/>
                </a:lnTo>
                <a:lnTo>
                  <a:pt x="416223" y="736781"/>
                </a:lnTo>
                <a:lnTo>
                  <a:pt x="460894" y="728368"/>
                </a:lnTo>
                <a:lnTo>
                  <a:pt x="503500" y="714769"/>
                </a:lnTo>
                <a:lnTo>
                  <a:pt x="543692" y="696332"/>
                </a:lnTo>
                <a:lnTo>
                  <a:pt x="581125" y="673402"/>
                </a:lnTo>
                <a:lnTo>
                  <a:pt x="615452" y="646327"/>
                </a:lnTo>
                <a:lnTo>
                  <a:pt x="646327" y="615452"/>
                </a:lnTo>
                <a:lnTo>
                  <a:pt x="673402" y="581125"/>
                </a:lnTo>
                <a:lnTo>
                  <a:pt x="696332" y="543692"/>
                </a:lnTo>
                <a:lnTo>
                  <a:pt x="714769" y="503500"/>
                </a:lnTo>
                <a:lnTo>
                  <a:pt x="728368" y="460894"/>
                </a:lnTo>
                <a:lnTo>
                  <a:pt x="736781" y="416223"/>
                </a:lnTo>
                <a:lnTo>
                  <a:pt x="739663" y="369831"/>
                </a:lnTo>
                <a:lnTo>
                  <a:pt x="736781" y="323442"/>
                </a:lnTo>
                <a:lnTo>
                  <a:pt x="728368" y="278771"/>
                </a:lnTo>
                <a:lnTo>
                  <a:pt x="714769" y="236167"/>
                </a:lnTo>
                <a:lnTo>
                  <a:pt x="696332" y="195975"/>
                </a:lnTo>
                <a:lnTo>
                  <a:pt x="673402" y="158542"/>
                </a:lnTo>
                <a:lnTo>
                  <a:pt x="646327" y="124214"/>
                </a:lnTo>
                <a:lnTo>
                  <a:pt x="615452" y="93339"/>
                </a:lnTo>
                <a:lnTo>
                  <a:pt x="581125" y="66263"/>
                </a:lnTo>
                <a:lnTo>
                  <a:pt x="543692" y="43333"/>
                </a:lnTo>
                <a:lnTo>
                  <a:pt x="503500" y="24894"/>
                </a:lnTo>
                <a:lnTo>
                  <a:pt x="460894" y="11295"/>
                </a:lnTo>
                <a:lnTo>
                  <a:pt x="416223" y="2881"/>
                </a:lnTo>
                <a:lnTo>
                  <a:pt x="369831" y="0"/>
                </a:lnTo>
                <a:close/>
              </a:path>
            </a:pathLst>
          </a:custGeom>
          <a:solidFill>
            <a:srgbClr val="E5E5E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en-AU"/>
          </a:p>
        </p:txBody>
      </p:sp>
      <p:sp>
        <p:nvSpPr>
          <p:cNvPr id="14" name="object 21">
            <a:extLst>
              <a:ext uri="{FF2B5EF4-FFF2-40B4-BE49-F238E27FC236}">
                <a16:creationId xmlns:a16="http://schemas.microsoft.com/office/drawing/2014/main" id="{633296B9-159A-AA5B-7D00-9010312CD5D0}"/>
              </a:ext>
            </a:extLst>
          </p:cNvPr>
          <p:cNvSpPr txBox="1"/>
          <p:nvPr userDrawn="1"/>
        </p:nvSpPr>
        <p:spPr>
          <a:xfrm>
            <a:off x="17487900" y="6727825"/>
            <a:ext cx="495300" cy="177800"/>
          </a:xfrm>
          <a:prstGeom prst="rect">
            <a:avLst/>
          </a:prstGeom>
        </p:spPr>
        <p:txBody>
          <a:bodyPr lIns="0" tIns="15875" rIns="0" bIns="0">
            <a:spAutoFit/>
          </a:bodyPr>
          <a:lstStyle/>
          <a:p>
            <a:pPr marL="12700" algn="ctr" eaLnBrk="1" fontAlgn="auto" hangingPunct="1">
              <a:spcBef>
                <a:spcPts val="125"/>
              </a:spcBef>
              <a:spcAft>
                <a:spcPts val="0"/>
              </a:spcAft>
              <a:defRPr/>
            </a:pPr>
            <a:r>
              <a:rPr lang="it-IT" sz="1050" b="1" spc="135" dirty="0">
                <a:latin typeface="Helvetica Neue"/>
                <a:cs typeface="Helvetica Neue"/>
              </a:rPr>
              <a:t>ALKO</a:t>
            </a:r>
            <a:endParaRPr sz="1050" dirty="0">
              <a:latin typeface="Helvetica Neue"/>
              <a:cs typeface="Helvetica Neue"/>
            </a:endParaRPr>
          </a:p>
        </p:txBody>
      </p:sp>
      <p:sp>
        <p:nvSpPr>
          <p:cNvPr id="16" name="object 24">
            <a:extLst>
              <a:ext uri="{FF2B5EF4-FFF2-40B4-BE49-F238E27FC236}">
                <a16:creationId xmlns:a16="http://schemas.microsoft.com/office/drawing/2014/main" id="{6BE11530-6420-7A15-F187-0822A855587B}"/>
              </a:ext>
            </a:extLst>
          </p:cNvPr>
          <p:cNvSpPr>
            <a:spLocks/>
          </p:cNvSpPr>
          <p:nvPr userDrawn="1"/>
        </p:nvSpPr>
        <p:spPr bwMode="auto">
          <a:xfrm>
            <a:off x="17365663" y="7342188"/>
            <a:ext cx="739775" cy="739775"/>
          </a:xfrm>
          <a:custGeom>
            <a:avLst/>
            <a:gdLst>
              <a:gd name="T0" fmla="*/ 369831 w 739775"/>
              <a:gd name="T1" fmla="*/ 0 h 739775"/>
              <a:gd name="T2" fmla="*/ 323440 w 739775"/>
              <a:gd name="T3" fmla="*/ 2881 h 739775"/>
              <a:gd name="T4" fmla="*/ 278768 w 739775"/>
              <a:gd name="T5" fmla="*/ 11295 h 739775"/>
              <a:gd name="T6" fmla="*/ 236163 w 739775"/>
              <a:gd name="T7" fmla="*/ 24894 h 739775"/>
              <a:gd name="T8" fmla="*/ 195970 w 739775"/>
              <a:gd name="T9" fmla="*/ 43333 h 739775"/>
              <a:gd name="T10" fmla="*/ 158537 w 739775"/>
              <a:gd name="T11" fmla="*/ 66263 h 739775"/>
              <a:gd name="T12" fmla="*/ 124210 w 739775"/>
              <a:gd name="T13" fmla="*/ 93339 h 739775"/>
              <a:gd name="T14" fmla="*/ 93335 w 739775"/>
              <a:gd name="T15" fmla="*/ 124214 h 739775"/>
              <a:gd name="T16" fmla="*/ 66260 w 739775"/>
              <a:gd name="T17" fmla="*/ 158542 h 739775"/>
              <a:gd name="T18" fmla="*/ 43330 w 739775"/>
              <a:gd name="T19" fmla="*/ 195975 h 739775"/>
              <a:gd name="T20" fmla="*/ 24893 w 739775"/>
              <a:gd name="T21" fmla="*/ 236167 h 739775"/>
              <a:gd name="T22" fmla="*/ 11294 w 739775"/>
              <a:gd name="T23" fmla="*/ 278771 h 739775"/>
              <a:gd name="T24" fmla="*/ 2881 w 739775"/>
              <a:gd name="T25" fmla="*/ 323442 h 739775"/>
              <a:gd name="T26" fmla="*/ 0 w 739775"/>
              <a:gd name="T27" fmla="*/ 369831 h 739775"/>
              <a:gd name="T28" fmla="*/ 2881 w 739775"/>
              <a:gd name="T29" fmla="*/ 416223 h 739775"/>
              <a:gd name="T30" fmla="*/ 11294 w 739775"/>
              <a:gd name="T31" fmla="*/ 460894 h 739775"/>
              <a:gd name="T32" fmla="*/ 24893 w 739775"/>
              <a:gd name="T33" fmla="*/ 503500 h 739775"/>
              <a:gd name="T34" fmla="*/ 43330 w 739775"/>
              <a:gd name="T35" fmla="*/ 543692 h 739775"/>
              <a:gd name="T36" fmla="*/ 66260 w 739775"/>
              <a:gd name="T37" fmla="*/ 581125 h 739775"/>
              <a:gd name="T38" fmla="*/ 93335 w 739775"/>
              <a:gd name="T39" fmla="*/ 615452 h 739775"/>
              <a:gd name="T40" fmla="*/ 124210 w 739775"/>
              <a:gd name="T41" fmla="*/ 646327 h 739775"/>
              <a:gd name="T42" fmla="*/ 158537 w 739775"/>
              <a:gd name="T43" fmla="*/ 673402 h 739775"/>
              <a:gd name="T44" fmla="*/ 195970 w 739775"/>
              <a:gd name="T45" fmla="*/ 696332 h 739775"/>
              <a:gd name="T46" fmla="*/ 236163 w 739775"/>
              <a:gd name="T47" fmla="*/ 714769 h 739775"/>
              <a:gd name="T48" fmla="*/ 278768 w 739775"/>
              <a:gd name="T49" fmla="*/ 728368 h 739775"/>
              <a:gd name="T50" fmla="*/ 323440 w 739775"/>
              <a:gd name="T51" fmla="*/ 736781 h 739775"/>
              <a:gd name="T52" fmla="*/ 369831 w 739775"/>
              <a:gd name="T53" fmla="*/ 739663 h 739775"/>
              <a:gd name="T54" fmla="*/ 416223 w 739775"/>
              <a:gd name="T55" fmla="*/ 736781 h 739775"/>
              <a:gd name="T56" fmla="*/ 460894 w 739775"/>
              <a:gd name="T57" fmla="*/ 728368 h 739775"/>
              <a:gd name="T58" fmla="*/ 503500 w 739775"/>
              <a:gd name="T59" fmla="*/ 714769 h 739775"/>
              <a:gd name="T60" fmla="*/ 543692 w 739775"/>
              <a:gd name="T61" fmla="*/ 696332 h 739775"/>
              <a:gd name="T62" fmla="*/ 581125 w 739775"/>
              <a:gd name="T63" fmla="*/ 673402 h 739775"/>
              <a:gd name="T64" fmla="*/ 615452 w 739775"/>
              <a:gd name="T65" fmla="*/ 646327 h 739775"/>
              <a:gd name="T66" fmla="*/ 646327 w 739775"/>
              <a:gd name="T67" fmla="*/ 615452 h 739775"/>
              <a:gd name="T68" fmla="*/ 673402 w 739775"/>
              <a:gd name="T69" fmla="*/ 581125 h 739775"/>
              <a:gd name="T70" fmla="*/ 696332 w 739775"/>
              <a:gd name="T71" fmla="*/ 543692 h 739775"/>
              <a:gd name="T72" fmla="*/ 714769 w 739775"/>
              <a:gd name="T73" fmla="*/ 503500 h 739775"/>
              <a:gd name="T74" fmla="*/ 728368 w 739775"/>
              <a:gd name="T75" fmla="*/ 460894 h 739775"/>
              <a:gd name="T76" fmla="*/ 736781 w 739775"/>
              <a:gd name="T77" fmla="*/ 416223 h 739775"/>
              <a:gd name="T78" fmla="*/ 739663 w 739775"/>
              <a:gd name="T79" fmla="*/ 369831 h 739775"/>
              <a:gd name="T80" fmla="*/ 736781 w 739775"/>
              <a:gd name="T81" fmla="*/ 323442 h 739775"/>
              <a:gd name="T82" fmla="*/ 728368 w 739775"/>
              <a:gd name="T83" fmla="*/ 278771 h 739775"/>
              <a:gd name="T84" fmla="*/ 714769 w 739775"/>
              <a:gd name="T85" fmla="*/ 236167 h 739775"/>
              <a:gd name="T86" fmla="*/ 696332 w 739775"/>
              <a:gd name="T87" fmla="*/ 195975 h 739775"/>
              <a:gd name="T88" fmla="*/ 673402 w 739775"/>
              <a:gd name="T89" fmla="*/ 158542 h 739775"/>
              <a:gd name="T90" fmla="*/ 646327 w 739775"/>
              <a:gd name="T91" fmla="*/ 124214 h 739775"/>
              <a:gd name="T92" fmla="*/ 615452 w 739775"/>
              <a:gd name="T93" fmla="*/ 93339 h 739775"/>
              <a:gd name="T94" fmla="*/ 581125 w 739775"/>
              <a:gd name="T95" fmla="*/ 66263 h 739775"/>
              <a:gd name="T96" fmla="*/ 543692 w 739775"/>
              <a:gd name="T97" fmla="*/ 43333 h 739775"/>
              <a:gd name="T98" fmla="*/ 503500 w 739775"/>
              <a:gd name="T99" fmla="*/ 24894 h 739775"/>
              <a:gd name="T100" fmla="*/ 460894 w 739775"/>
              <a:gd name="T101" fmla="*/ 11295 h 739775"/>
              <a:gd name="T102" fmla="*/ 416223 w 739775"/>
              <a:gd name="T103" fmla="*/ 2881 h 739775"/>
              <a:gd name="T104" fmla="*/ 369831 w 739775"/>
              <a:gd name="T105" fmla="*/ 0 h 7397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739775" h="739775">
                <a:moveTo>
                  <a:pt x="369831" y="0"/>
                </a:moveTo>
                <a:lnTo>
                  <a:pt x="323440" y="2881"/>
                </a:lnTo>
                <a:lnTo>
                  <a:pt x="278768" y="11295"/>
                </a:lnTo>
                <a:lnTo>
                  <a:pt x="236163" y="24894"/>
                </a:lnTo>
                <a:lnTo>
                  <a:pt x="195970" y="43333"/>
                </a:lnTo>
                <a:lnTo>
                  <a:pt x="158537" y="66263"/>
                </a:lnTo>
                <a:lnTo>
                  <a:pt x="124210" y="93339"/>
                </a:lnTo>
                <a:lnTo>
                  <a:pt x="93335" y="124214"/>
                </a:lnTo>
                <a:lnTo>
                  <a:pt x="66260" y="158542"/>
                </a:lnTo>
                <a:lnTo>
                  <a:pt x="43330" y="195975"/>
                </a:lnTo>
                <a:lnTo>
                  <a:pt x="24893" y="236167"/>
                </a:lnTo>
                <a:lnTo>
                  <a:pt x="11294" y="278771"/>
                </a:lnTo>
                <a:lnTo>
                  <a:pt x="2881" y="323442"/>
                </a:lnTo>
                <a:lnTo>
                  <a:pt x="0" y="369831"/>
                </a:lnTo>
                <a:lnTo>
                  <a:pt x="2881" y="416223"/>
                </a:lnTo>
                <a:lnTo>
                  <a:pt x="11294" y="460894"/>
                </a:lnTo>
                <a:lnTo>
                  <a:pt x="24893" y="503500"/>
                </a:lnTo>
                <a:lnTo>
                  <a:pt x="43330" y="543692"/>
                </a:lnTo>
                <a:lnTo>
                  <a:pt x="66260" y="581125"/>
                </a:lnTo>
                <a:lnTo>
                  <a:pt x="93335" y="615452"/>
                </a:lnTo>
                <a:lnTo>
                  <a:pt x="124210" y="646327"/>
                </a:lnTo>
                <a:lnTo>
                  <a:pt x="158537" y="673402"/>
                </a:lnTo>
                <a:lnTo>
                  <a:pt x="195970" y="696332"/>
                </a:lnTo>
                <a:lnTo>
                  <a:pt x="236163" y="714769"/>
                </a:lnTo>
                <a:lnTo>
                  <a:pt x="278768" y="728368"/>
                </a:lnTo>
                <a:lnTo>
                  <a:pt x="323440" y="736781"/>
                </a:lnTo>
                <a:lnTo>
                  <a:pt x="369831" y="739663"/>
                </a:lnTo>
                <a:lnTo>
                  <a:pt x="416223" y="736781"/>
                </a:lnTo>
                <a:lnTo>
                  <a:pt x="460894" y="728368"/>
                </a:lnTo>
                <a:lnTo>
                  <a:pt x="503500" y="714769"/>
                </a:lnTo>
                <a:lnTo>
                  <a:pt x="543692" y="696332"/>
                </a:lnTo>
                <a:lnTo>
                  <a:pt x="581125" y="673402"/>
                </a:lnTo>
                <a:lnTo>
                  <a:pt x="615452" y="646327"/>
                </a:lnTo>
                <a:lnTo>
                  <a:pt x="646327" y="615452"/>
                </a:lnTo>
                <a:lnTo>
                  <a:pt x="673402" y="581125"/>
                </a:lnTo>
                <a:lnTo>
                  <a:pt x="696332" y="543692"/>
                </a:lnTo>
                <a:lnTo>
                  <a:pt x="714769" y="503500"/>
                </a:lnTo>
                <a:lnTo>
                  <a:pt x="728368" y="460894"/>
                </a:lnTo>
                <a:lnTo>
                  <a:pt x="736781" y="416223"/>
                </a:lnTo>
                <a:lnTo>
                  <a:pt x="739663" y="369831"/>
                </a:lnTo>
                <a:lnTo>
                  <a:pt x="736781" y="323442"/>
                </a:lnTo>
                <a:lnTo>
                  <a:pt x="728368" y="278771"/>
                </a:lnTo>
                <a:lnTo>
                  <a:pt x="714769" y="236167"/>
                </a:lnTo>
                <a:lnTo>
                  <a:pt x="696332" y="195975"/>
                </a:lnTo>
                <a:lnTo>
                  <a:pt x="673402" y="158542"/>
                </a:lnTo>
                <a:lnTo>
                  <a:pt x="646327" y="124214"/>
                </a:lnTo>
                <a:lnTo>
                  <a:pt x="615452" y="93339"/>
                </a:lnTo>
                <a:lnTo>
                  <a:pt x="581125" y="66263"/>
                </a:lnTo>
                <a:lnTo>
                  <a:pt x="543692" y="43333"/>
                </a:lnTo>
                <a:lnTo>
                  <a:pt x="503500" y="24894"/>
                </a:lnTo>
                <a:lnTo>
                  <a:pt x="460894" y="11295"/>
                </a:lnTo>
                <a:lnTo>
                  <a:pt x="416223" y="2881"/>
                </a:lnTo>
                <a:lnTo>
                  <a:pt x="369831" y="0"/>
                </a:lnTo>
                <a:close/>
              </a:path>
            </a:pathLst>
          </a:custGeom>
          <a:solidFill>
            <a:srgbClr val="E5E5E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en-AU"/>
          </a:p>
        </p:txBody>
      </p:sp>
      <p:sp>
        <p:nvSpPr>
          <p:cNvPr id="17" name="object 25">
            <a:extLst>
              <a:ext uri="{FF2B5EF4-FFF2-40B4-BE49-F238E27FC236}">
                <a16:creationId xmlns:a16="http://schemas.microsoft.com/office/drawing/2014/main" id="{213C6CB7-DBC5-3AA5-516D-B9F6AE129B6B}"/>
              </a:ext>
            </a:extLst>
          </p:cNvPr>
          <p:cNvSpPr txBox="1"/>
          <p:nvPr userDrawn="1"/>
        </p:nvSpPr>
        <p:spPr>
          <a:xfrm>
            <a:off x="17495838" y="7631113"/>
            <a:ext cx="479425" cy="176212"/>
          </a:xfrm>
          <a:prstGeom prst="rect">
            <a:avLst/>
          </a:prstGeom>
        </p:spPr>
        <p:txBody>
          <a:bodyPr lIns="0" tIns="15875" rIns="0" bIns="0">
            <a:spAutoFit/>
          </a:bodyPr>
          <a:lstStyle/>
          <a:p>
            <a:pPr marL="12700" algn="ctr" eaLnBrk="1" fontAlgn="auto" hangingPunct="1">
              <a:spcBef>
                <a:spcPts val="125"/>
              </a:spcBef>
              <a:spcAft>
                <a:spcPts val="0"/>
              </a:spcAft>
              <a:defRPr/>
            </a:pPr>
            <a:r>
              <a:rPr lang="it-IT" sz="1050" b="1" spc="135" dirty="0">
                <a:latin typeface="Helvetica Neue"/>
                <a:cs typeface="Helvetica Neue"/>
              </a:rPr>
              <a:t>ALDE</a:t>
            </a:r>
            <a:endParaRPr sz="1050" dirty="0">
              <a:latin typeface="Helvetica Neue"/>
              <a:cs typeface="Helvetica Neue"/>
            </a:endParaRPr>
          </a:p>
        </p:txBody>
      </p:sp>
      <p:sp>
        <p:nvSpPr>
          <p:cNvPr id="15" name="Holder 4"/>
          <p:cNvSpPr>
            <a:spLocks noGrp="1"/>
          </p:cNvSpPr>
          <p:nvPr>
            <p:ph sz="half" idx="3"/>
          </p:nvPr>
        </p:nvSpPr>
        <p:spPr>
          <a:xfrm>
            <a:off x="1534064" y="3671244"/>
            <a:ext cx="7233284" cy="2448989"/>
          </a:xfrm>
          <a:prstGeom prst="rect">
            <a:avLst/>
          </a:prstGeom>
          <a:solidFill>
            <a:srgbClr val="E5E5E5"/>
          </a:solidFill>
        </p:spPr>
        <p:txBody>
          <a:bodyPr/>
          <a:lstStyle>
            <a:lvl1pPr>
              <a:defRPr/>
            </a:lvl1pPr>
          </a:lstStyle>
          <a:p>
            <a:endParaRPr dirty="0"/>
          </a:p>
        </p:txBody>
      </p:sp>
      <p:sp>
        <p:nvSpPr>
          <p:cNvPr id="22" name="Segnaposto testo 21"/>
          <p:cNvSpPr>
            <a:spLocks noGrp="1"/>
          </p:cNvSpPr>
          <p:nvPr>
            <p:ph type="body" sz="quarter" idx="11"/>
          </p:nvPr>
        </p:nvSpPr>
        <p:spPr>
          <a:xfrm>
            <a:off x="1534064" y="6447778"/>
            <a:ext cx="5165186" cy="269304"/>
          </a:xfrm>
        </p:spPr>
        <p:txBody>
          <a:bodyPr/>
          <a:lstStyle>
            <a:lvl1pPr>
              <a:defRPr sz="1750" b="1" i="0" u="sng">
                <a:latin typeface="Helvetica" pitchFamily="2" charset="0"/>
              </a:defRPr>
            </a:lvl1pPr>
            <a:lvl2pPr>
              <a:defRPr sz="1750" b="1" i="0" u="sng">
                <a:latin typeface="Helvetica" pitchFamily="2" charset="0"/>
              </a:defRPr>
            </a:lvl2pPr>
            <a:lvl3pPr>
              <a:defRPr sz="1750" b="1" i="0" u="sng">
                <a:latin typeface="Helvetica" pitchFamily="2" charset="0"/>
              </a:defRPr>
            </a:lvl3pPr>
            <a:lvl4pPr>
              <a:defRPr sz="1750" b="1" i="0" u="sng">
                <a:latin typeface="Helvetica" pitchFamily="2" charset="0"/>
              </a:defRPr>
            </a:lvl4pPr>
            <a:lvl5pPr>
              <a:defRPr sz="1750" b="1" i="0" u="sng">
                <a:latin typeface="Helvetica" pitchFamily="2" charset="0"/>
              </a:defRPr>
            </a:lvl5pPr>
          </a:lstStyle>
          <a:p>
            <a:pPr lvl="0"/>
            <a:endParaRPr lang="it-IT" dirty="0"/>
          </a:p>
        </p:txBody>
      </p:sp>
      <p:sp>
        <p:nvSpPr>
          <p:cNvPr id="25" name="Segnaposto testo 24"/>
          <p:cNvSpPr>
            <a:spLocks noGrp="1"/>
          </p:cNvSpPr>
          <p:nvPr>
            <p:ph type="body" sz="quarter" idx="12"/>
          </p:nvPr>
        </p:nvSpPr>
        <p:spPr>
          <a:xfrm>
            <a:off x="1533525" y="6888410"/>
            <a:ext cx="5699125" cy="238527"/>
          </a:xfrm>
        </p:spPr>
        <p:txBody>
          <a:bodyPr/>
          <a:lstStyle>
            <a:lvl1pPr>
              <a:defRPr sz="1550" b="0" i="0">
                <a:latin typeface="Helvetica" pitchFamily="2" charset="0"/>
              </a:defRPr>
            </a:lvl1pPr>
            <a:lvl2pPr>
              <a:defRPr sz="1550" b="1" i="0">
                <a:latin typeface="Helvetica" pitchFamily="2" charset="0"/>
              </a:defRPr>
            </a:lvl2pPr>
            <a:lvl3pPr>
              <a:defRPr sz="1550" b="1" i="0">
                <a:latin typeface="Helvetica" pitchFamily="2" charset="0"/>
              </a:defRPr>
            </a:lvl3pPr>
            <a:lvl4pPr>
              <a:defRPr sz="1550" b="1" i="0">
                <a:latin typeface="Helvetica" pitchFamily="2" charset="0"/>
              </a:defRPr>
            </a:lvl4pPr>
            <a:lvl5pPr>
              <a:defRPr sz="1550" b="1" i="0">
                <a:latin typeface="Helvetica" pitchFamily="2" charset="0"/>
              </a:defRPr>
            </a:lvl5pPr>
          </a:lstStyle>
          <a:p>
            <a:pPr lvl="0"/>
            <a:endParaRPr lang="it-IT" dirty="0"/>
          </a:p>
        </p:txBody>
      </p:sp>
      <p:sp>
        <p:nvSpPr>
          <p:cNvPr id="27" name="Segnaposto testo 21"/>
          <p:cNvSpPr>
            <a:spLocks noGrp="1"/>
          </p:cNvSpPr>
          <p:nvPr>
            <p:ph type="body" sz="quarter" idx="13"/>
          </p:nvPr>
        </p:nvSpPr>
        <p:spPr>
          <a:xfrm>
            <a:off x="1534064" y="8359545"/>
            <a:ext cx="5165186" cy="269304"/>
          </a:xfrm>
        </p:spPr>
        <p:txBody>
          <a:bodyPr/>
          <a:lstStyle>
            <a:lvl1pPr>
              <a:defRPr sz="1750" b="1" i="0" u="sng">
                <a:latin typeface="Helvetica" pitchFamily="2" charset="0"/>
              </a:defRPr>
            </a:lvl1pPr>
            <a:lvl2pPr>
              <a:defRPr sz="1750" b="1" i="0" u="sng">
                <a:latin typeface="Helvetica" pitchFamily="2" charset="0"/>
              </a:defRPr>
            </a:lvl2pPr>
            <a:lvl3pPr>
              <a:defRPr sz="1750" b="1" i="0" u="sng">
                <a:latin typeface="Helvetica" pitchFamily="2" charset="0"/>
              </a:defRPr>
            </a:lvl3pPr>
            <a:lvl4pPr>
              <a:defRPr sz="1750" b="1" i="0" u="sng">
                <a:latin typeface="Helvetica" pitchFamily="2" charset="0"/>
              </a:defRPr>
            </a:lvl4pPr>
            <a:lvl5pPr>
              <a:defRPr sz="1750" b="1" i="0" u="sng">
                <a:latin typeface="Helvetica" pitchFamily="2" charset="0"/>
              </a:defRPr>
            </a:lvl5pPr>
          </a:lstStyle>
          <a:p>
            <a:pPr lvl="0"/>
            <a:endParaRPr lang="it-IT" dirty="0"/>
          </a:p>
        </p:txBody>
      </p:sp>
      <p:sp>
        <p:nvSpPr>
          <p:cNvPr id="28" name="Segnaposto testo 24"/>
          <p:cNvSpPr>
            <a:spLocks noGrp="1"/>
          </p:cNvSpPr>
          <p:nvPr>
            <p:ph type="body" sz="quarter" idx="14"/>
          </p:nvPr>
        </p:nvSpPr>
        <p:spPr>
          <a:xfrm>
            <a:off x="1533525" y="8800177"/>
            <a:ext cx="5699125" cy="238527"/>
          </a:xfrm>
        </p:spPr>
        <p:txBody>
          <a:bodyPr/>
          <a:lstStyle>
            <a:lvl1pPr>
              <a:defRPr sz="1550" b="0" i="0">
                <a:latin typeface="Helvetica" pitchFamily="2" charset="0"/>
              </a:defRPr>
            </a:lvl1pPr>
            <a:lvl2pPr>
              <a:defRPr sz="1550" b="1" i="0">
                <a:latin typeface="Helvetica" pitchFamily="2" charset="0"/>
              </a:defRPr>
            </a:lvl2pPr>
            <a:lvl3pPr>
              <a:defRPr sz="1550" b="1" i="0">
                <a:latin typeface="Helvetica" pitchFamily="2" charset="0"/>
              </a:defRPr>
            </a:lvl3pPr>
            <a:lvl4pPr>
              <a:defRPr sz="1550" b="1" i="0">
                <a:latin typeface="Helvetica" pitchFamily="2" charset="0"/>
              </a:defRPr>
            </a:lvl4pPr>
            <a:lvl5pPr>
              <a:defRPr sz="1550" b="1" i="0">
                <a:latin typeface="Helvetica" pitchFamily="2" charset="0"/>
              </a:defRPr>
            </a:lvl5pPr>
          </a:lstStyle>
          <a:p>
            <a:pPr lvl="0"/>
            <a:endParaRPr lang="it-IT" dirty="0"/>
          </a:p>
        </p:txBody>
      </p:sp>
      <p:sp>
        <p:nvSpPr>
          <p:cNvPr id="29" name="Segnaposto testo 21"/>
          <p:cNvSpPr>
            <a:spLocks noGrp="1"/>
          </p:cNvSpPr>
          <p:nvPr>
            <p:ph type="body" sz="quarter" idx="15"/>
          </p:nvPr>
        </p:nvSpPr>
        <p:spPr>
          <a:xfrm>
            <a:off x="1534064" y="10233316"/>
            <a:ext cx="5165186" cy="269304"/>
          </a:xfrm>
        </p:spPr>
        <p:txBody>
          <a:bodyPr/>
          <a:lstStyle>
            <a:lvl1pPr>
              <a:defRPr sz="1750" b="1" i="0" u="sng">
                <a:latin typeface="Helvetica" pitchFamily="2" charset="0"/>
              </a:defRPr>
            </a:lvl1pPr>
            <a:lvl2pPr>
              <a:defRPr sz="1750" b="1" i="0" u="sng">
                <a:latin typeface="Helvetica" pitchFamily="2" charset="0"/>
              </a:defRPr>
            </a:lvl2pPr>
            <a:lvl3pPr>
              <a:defRPr sz="1750" b="1" i="0" u="sng">
                <a:latin typeface="Helvetica" pitchFamily="2" charset="0"/>
              </a:defRPr>
            </a:lvl3pPr>
            <a:lvl4pPr>
              <a:defRPr sz="1750" b="1" i="0" u="sng">
                <a:latin typeface="Helvetica" pitchFamily="2" charset="0"/>
              </a:defRPr>
            </a:lvl4pPr>
            <a:lvl5pPr>
              <a:defRPr sz="1750" b="1" i="0" u="sng">
                <a:latin typeface="Helvetica" pitchFamily="2" charset="0"/>
              </a:defRPr>
            </a:lvl5pPr>
          </a:lstStyle>
          <a:p>
            <a:pPr lvl="0"/>
            <a:endParaRPr lang="it-IT" dirty="0"/>
          </a:p>
        </p:txBody>
      </p:sp>
      <p:sp>
        <p:nvSpPr>
          <p:cNvPr id="30" name="Segnaposto testo 24"/>
          <p:cNvSpPr>
            <a:spLocks noGrp="1"/>
          </p:cNvSpPr>
          <p:nvPr>
            <p:ph type="body" sz="quarter" idx="16"/>
          </p:nvPr>
        </p:nvSpPr>
        <p:spPr>
          <a:xfrm>
            <a:off x="1533525" y="10673948"/>
            <a:ext cx="5699125" cy="238527"/>
          </a:xfrm>
        </p:spPr>
        <p:txBody>
          <a:bodyPr numCol="2"/>
          <a:lstStyle>
            <a:lvl1pPr marL="12065" indent="0">
              <a:buNone/>
              <a:defRPr sz="1550" b="0" i="0">
                <a:latin typeface="Helvetica" pitchFamily="2" charset="0"/>
              </a:defRPr>
            </a:lvl1pPr>
            <a:lvl2pPr>
              <a:defRPr sz="1550" b="1" i="0">
                <a:latin typeface="Helvetica" pitchFamily="2" charset="0"/>
              </a:defRPr>
            </a:lvl2pPr>
            <a:lvl3pPr>
              <a:defRPr sz="1550" b="1" i="0">
                <a:latin typeface="Helvetica" pitchFamily="2" charset="0"/>
              </a:defRPr>
            </a:lvl3pPr>
            <a:lvl4pPr>
              <a:defRPr sz="1550" b="1" i="0">
                <a:latin typeface="Helvetica" pitchFamily="2" charset="0"/>
              </a:defRPr>
            </a:lvl4pPr>
            <a:lvl5pPr>
              <a:defRPr sz="1550" b="1" i="0">
                <a:latin typeface="Helvetica" pitchFamily="2" charset="0"/>
              </a:defRPr>
            </a:lvl5pPr>
          </a:lstStyle>
          <a:p>
            <a:endParaRPr lang="it-IT" dirty="0"/>
          </a:p>
        </p:txBody>
      </p:sp>
      <p:sp>
        <p:nvSpPr>
          <p:cNvPr id="32" name="Holder 4"/>
          <p:cNvSpPr>
            <a:spLocks noGrp="1"/>
          </p:cNvSpPr>
          <p:nvPr>
            <p:ph sz="half" idx="17"/>
          </p:nvPr>
        </p:nvSpPr>
        <p:spPr>
          <a:xfrm>
            <a:off x="10857946" y="3671244"/>
            <a:ext cx="7233284" cy="2448989"/>
          </a:xfrm>
          <a:prstGeom prst="rect">
            <a:avLst/>
          </a:prstGeom>
          <a:solidFill>
            <a:srgbClr val="E5E5E5"/>
          </a:solidFill>
        </p:spPr>
        <p:txBody>
          <a:bodyPr/>
          <a:lstStyle>
            <a:lvl1pPr>
              <a:defRPr/>
            </a:lvl1pPr>
          </a:lstStyle>
          <a:p>
            <a:endParaRPr dirty="0"/>
          </a:p>
        </p:txBody>
      </p:sp>
      <p:sp>
        <p:nvSpPr>
          <p:cNvPr id="37" name="Segnaposto testo 21"/>
          <p:cNvSpPr>
            <a:spLocks noGrp="1"/>
          </p:cNvSpPr>
          <p:nvPr>
            <p:ph type="body" sz="quarter" idx="18"/>
          </p:nvPr>
        </p:nvSpPr>
        <p:spPr>
          <a:xfrm>
            <a:off x="10857946" y="6447778"/>
            <a:ext cx="5165186" cy="269304"/>
          </a:xfrm>
        </p:spPr>
        <p:txBody>
          <a:bodyPr/>
          <a:lstStyle>
            <a:lvl1pPr>
              <a:defRPr sz="1750" b="1" i="0" u="sng">
                <a:latin typeface="Helvetica" pitchFamily="2" charset="0"/>
              </a:defRPr>
            </a:lvl1pPr>
            <a:lvl2pPr>
              <a:defRPr sz="1750" b="1" i="0" u="sng">
                <a:latin typeface="Helvetica" pitchFamily="2" charset="0"/>
              </a:defRPr>
            </a:lvl2pPr>
            <a:lvl3pPr>
              <a:defRPr sz="1750" b="1" i="0" u="sng">
                <a:latin typeface="Helvetica" pitchFamily="2" charset="0"/>
              </a:defRPr>
            </a:lvl3pPr>
            <a:lvl4pPr>
              <a:defRPr sz="1750" b="1" i="0" u="sng">
                <a:latin typeface="Helvetica" pitchFamily="2" charset="0"/>
              </a:defRPr>
            </a:lvl4pPr>
            <a:lvl5pPr>
              <a:defRPr sz="1750" b="1" i="0" u="sng">
                <a:latin typeface="Helvetica" pitchFamily="2" charset="0"/>
              </a:defRPr>
            </a:lvl5pPr>
          </a:lstStyle>
          <a:p>
            <a:pPr lvl="0"/>
            <a:endParaRPr lang="it-IT" dirty="0"/>
          </a:p>
        </p:txBody>
      </p:sp>
      <p:sp>
        <p:nvSpPr>
          <p:cNvPr id="38" name="Segnaposto testo 24"/>
          <p:cNvSpPr>
            <a:spLocks noGrp="1"/>
          </p:cNvSpPr>
          <p:nvPr>
            <p:ph type="body" sz="quarter" idx="19"/>
          </p:nvPr>
        </p:nvSpPr>
        <p:spPr>
          <a:xfrm>
            <a:off x="10857407" y="6888410"/>
            <a:ext cx="5699125" cy="238527"/>
          </a:xfrm>
        </p:spPr>
        <p:txBody>
          <a:bodyPr/>
          <a:lstStyle>
            <a:lvl1pPr>
              <a:defRPr sz="1550" b="0" i="0">
                <a:latin typeface="Helvetica" pitchFamily="2" charset="0"/>
              </a:defRPr>
            </a:lvl1pPr>
            <a:lvl2pPr>
              <a:defRPr sz="1550" b="1" i="0">
                <a:latin typeface="Helvetica" pitchFamily="2" charset="0"/>
              </a:defRPr>
            </a:lvl2pPr>
            <a:lvl3pPr>
              <a:defRPr sz="1550" b="1" i="0">
                <a:latin typeface="Helvetica" pitchFamily="2" charset="0"/>
              </a:defRPr>
            </a:lvl3pPr>
            <a:lvl4pPr>
              <a:defRPr sz="1550" b="1" i="0">
                <a:latin typeface="Helvetica" pitchFamily="2" charset="0"/>
              </a:defRPr>
            </a:lvl4pPr>
            <a:lvl5pPr>
              <a:defRPr sz="1550" b="1" i="0">
                <a:latin typeface="Helvetica" pitchFamily="2" charset="0"/>
              </a:defRPr>
            </a:lvl5pPr>
          </a:lstStyle>
          <a:p>
            <a:pPr lvl="0"/>
            <a:endParaRPr lang="it-IT" dirty="0"/>
          </a:p>
        </p:txBody>
      </p:sp>
      <p:sp>
        <p:nvSpPr>
          <p:cNvPr id="39" name="Segnaposto testo 21"/>
          <p:cNvSpPr>
            <a:spLocks noGrp="1"/>
          </p:cNvSpPr>
          <p:nvPr>
            <p:ph type="body" sz="quarter" idx="20"/>
          </p:nvPr>
        </p:nvSpPr>
        <p:spPr>
          <a:xfrm>
            <a:off x="10857946" y="8359545"/>
            <a:ext cx="5165186" cy="269304"/>
          </a:xfrm>
        </p:spPr>
        <p:txBody>
          <a:bodyPr/>
          <a:lstStyle>
            <a:lvl1pPr>
              <a:defRPr sz="1750" b="1" i="0" u="sng">
                <a:latin typeface="Helvetica" pitchFamily="2" charset="0"/>
              </a:defRPr>
            </a:lvl1pPr>
            <a:lvl2pPr>
              <a:defRPr sz="1750" b="1" i="0" u="sng">
                <a:latin typeface="Helvetica" pitchFamily="2" charset="0"/>
              </a:defRPr>
            </a:lvl2pPr>
            <a:lvl3pPr>
              <a:defRPr sz="1750" b="1" i="0" u="sng">
                <a:latin typeface="Helvetica" pitchFamily="2" charset="0"/>
              </a:defRPr>
            </a:lvl3pPr>
            <a:lvl4pPr>
              <a:defRPr sz="1750" b="1" i="0" u="sng">
                <a:latin typeface="Helvetica" pitchFamily="2" charset="0"/>
              </a:defRPr>
            </a:lvl4pPr>
            <a:lvl5pPr>
              <a:defRPr sz="1750" b="1" i="0" u="sng">
                <a:latin typeface="Helvetica" pitchFamily="2" charset="0"/>
              </a:defRPr>
            </a:lvl5pPr>
          </a:lstStyle>
          <a:p>
            <a:pPr lvl="0"/>
            <a:endParaRPr lang="it-IT" dirty="0"/>
          </a:p>
        </p:txBody>
      </p:sp>
      <p:sp>
        <p:nvSpPr>
          <p:cNvPr id="40" name="Segnaposto testo 24"/>
          <p:cNvSpPr>
            <a:spLocks noGrp="1"/>
          </p:cNvSpPr>
          <p:nvPr>
            <p:ph type="body" sz="quarter" idx="21"/>
          </p:nvPr>
        </p:nvSpPr>
        <p:spPr>
          <a:xfrm>
            <a:off x="10857407" y="8800177"/>
            <a:ext cx="5699125" cy="238527"/>
          </a:xfrm>
        </p:spPr>
        <p:txBody>
          <a:bodyPr/>
          <a:lstStyle>
            <a:lvl1pPr>
              <a:defRPr sz="1550" b="0" i="0">
                <a:latin typeface="Helvetica" pitchFamily="2" charset="0"/>
              </a:defRPr>
            </a:lvl1pPr>
            <a:lvl2pPr>
              <a:defRPr sz="1550" b="1" i="0">
                <a:latin typeface="Helvetica" pitchFamily="2" charset="0"/>
              </a:defRPr>
            </a:lvl2pPr>
            <a:lvl3pPr>
              <a:defRPr sz="1550" b="1" i="0">
                <a:latin typeface="Helvetica" pitchFamily="2" charset="0"/>
              </a:defRPr>
            </a:lvl3pPr>
            <a:lvl4pPr>
              <a:defRPr sz="1550" b="1" i="0">
                <a:latin typeface="Helvetica" pitchFamily="2" charset="0"/>
              </a:defRPr>
            </a:lvl4pPr>
            <a:lvl5pPr>
              <a:defRPr sz="1550" b="1" i="0">
                <a:latin typeface="Helvetica" pitchFamily="2" charset="0"/>
              </a:defRPr>
            </a:lvl5pPr>
          </a:lstStyle>
          <a:p>
            <a:pPr lvl="0"/>
            <a:endParaRPr lang="it-IT" dirty="0"/>
          </a:p>
        </p:txBody>
      </p:sp>
      <p:sp>
        <p:nvSpPr>
          <p:cNvPr id="41" name="Segnaposto testo 21"/>
          <p:cNvSpPr>
            <a:spLocks noGrp="1"/>
          </p:cNvSpPr>
          <p:nvPr>
            <p:ph type="body" sz="quarter" idx="22"/>
          </p:nvPr>
        </p:nvSpPr>
        <p:spPr>
          <a:xfrm>
            <a:off x="10857946" y="10233316"/>
            <a:ext cx="5165186" cy="269304"/>
          </a:xfrm>
        </p:spPr>
        <p:txBody>
          <a:bodyPr/>
          <a:lstStyle>
            <a:lvl1pPr>
              <a:defRPr sz="1750" b="1" i="0" u="sng">
                <a:latin typeface="Helvetica" pitchFamily="2" charset="0"/>
              </a:defRPr>
            </a:lvl1pPr>
            <a:lvl2pPr>
              <a:defRPr sz="1750" b="1" i="0" u="sng">
                <a:latin typeface="Helvetica" pitchFamily="2" charset="0"/>
              </a:defRPr>
            </a:lvl2pPr>
            <a:lvl3pPr>
              <a:defRPr sz="1750" b="1" i="0" u="sng">
                <a:latin typeface="Helvetica" pitchFamily="2" charset="0"/>
              </a:defRPr>
            </a:lvl3pPr>
            <a:lvl4pPr>
              <a:defRPr sz="1750" b="1" i="0" u="sng">
                <a:latin typeface="Helvetica" pitchFamily="2" charset="0"/>
              </a:defRPr>
            </a:lvl4pPr>
            <a:lvl5pPr>
              <a:defRPr sz="1750" b="1" i="0" u="sng">
                <a:latin typeface="Helvetica" pitchFamily="2" charset="0"/>
              </a:defRPr>
            </a:lvl5pPr>
          </a:lstStyle>
          <a:p>
            <a:pPr lvl="0"/>
            <a:endParaRPr lang="it-IT" dirty="0"/>
          </a:p>
        </p:txBody>
      </p:sp>
      <p:sp>
        <p:nvSpPr>
          <p:cNvPr id="42" name="Segnaposto testo 24"/>
          <p:cNvSpPr>
            <a:spLocks noGrp="1"/>
          </p:cNvSpPr>
          <p:nvPr>
            <p:ph type="body" sz="quarter" idx="23"/>
          </p:nvPr>
        </p:nvSpPr>
        <p:spPr>
          <a:xfrm>
            <a:off x="10857407" y="10673948"/>
            <a:ext cx="5699125" cy="238527"/>
          </a:xfrm>
        </p:spPr>
        <p:txBody>
          <a:bodyPr numCol="2"/>
          <a:lstStyle>
            <a:lvl1pPr marL="12065" indent="0">
              <a:buNone/>
              <a:defRPr sz="1550" b="0" i="0">
                <a:latin typeface="Helvetica" pitchFamily="2" charset="0"/>
              </a:defRPr>
            </a:lvl1pPr>
            <a:lvl2pPr>
              <a:defRPr sz="1550" b="1" i="0">
                <a:latin typeface="Helvetica" pitchFamily="2" charset="0"/>
              </a:defRPr>
            </a:lvl2pPr>
            <a:lvl3pPr>
              <a:defRPr sz="1550" b="1" i="0">
                <a:latin typeface="Helvetica" pitchFamily="2" charset="0"/>
              </a:defRPr>
            </a:lvl3pPr>
            <a:lvl4pPr>
              <a:defRPr sz="1550" b="1" i="0">
                <a:latin typeface="Helvetica" pitchFamily="2" charset="0"/>
              </a:defRPr>
            </a:lvl4pPr>
            <a:lvl5pPr>
              <a:defRPr sz="1550" b="1" i="0">
                <a:latin typeface="Helvetica" pitchFamily="2" charset="0"/>
              </a:defRPr>
            </a:lvl5pPr>
          </a:lstStyle>
          <a:p>
            <a:endParaRPr lang="it-IT" dirty="0"/>
          </a:p>
        </p:txBody>
      </p:sp>
      <p:sp>
        <p:nvSpPr>
          <p:cNvPr id="44" name="Segnaposto testo 43"/>
          <p:cNvSpPr>
            <a:spLocks noGrp="1"/>
          </p:cNvSpPr>
          <p:nvPr>
            <p:ph type="body" sz="quarter" idx="24"/>
          </p:nvPr>
        </p:nvSpPr>
        <p:spPr>
          <a:xfrm>
            <a:off x="10856913" y="3120965"/>
            <a:ext cx="7233284" cy="400110"/>
          </a:xfrm>
        </p:spPr>
        <p:txBody>
          <a:bodyPr/>
          <a:lstStyle>
            <a:lvl1pPr>
              <a:defRPr sz="2600" b="1" i="0" u="sng">
                <a:latin typeface="Helvetica" pitchFamily="2" charset="0"/>
              </a:defRPr>
            </a:lvl1pPr>
            <a:lvl2pPr>
              <a:defRPr sz="2600" b="1" i="0">
                <a:latin typeface="Helvetica" pitchFamily="2" charset="0"/>
              </a:defRPr>
            </a:lvl2pPr>
            <a:lvl3pPr>
              <a:defRPr sz="2600" b="1" i="0">
                <a:latin typeface="Helvetica" pitchFamily="2" charset="0"/>
              </a:defRPr>
            </a:lvl3pPr>
            <a:lvl4pPr>
              <a:defRPr sz="2600" b="1" i="0">
                <a:latin typeface="Helvetica" pitchFamily="2" charset="0"/>
              </a:defRPr>
            </a:lvl4pPr>
            <a:lvl5pPr>
              <a:defRPr sz="2600" b="1" i="0">
                <a:latin typeface="Helvetica" pitchFamily="2" charset="0"/>
              </a:defRPr>
            </a:lvl5pPr>
          </a:lstStyle>
          <a:p>
            <a:pPr lvl="0"/>
            <a:endParaRPr lang="it-IT" dirty="0"/>
          </a:p>
        </p:txBody>
      </p:sp>
      <p:sp>
        <p:nvSpPr>
          <p:cNvPr id="45" name="Segnaposto testo 43"/>
          <p:cNvSpPr>
            <a:spLocks noGrp="1"/>
          </p:cNvSpPr>
          <p:nvPr>
            <p:ph type="body" sz="quarter" idx="25"/>
          </p:nvPr>
        </p:nvSpPr>
        <p:spPr>
          <a:xfrm>
            <a:off x="1554270" y="3120965"/>
            <a:ext cx="7233284" cy="400110"/>
          </a:xfrm>
        </p:spPr>
        <p:txBody>
          <a:bodyPr/>
          <a:lstStyle>
            <a:lvl1pPr>
              <a:defRPr sz="2600" b="1" i="0" u="sng">
                <a:latin typeface="Helvetica" pitchFamily="2" charset="0"/>
              </a:defRPr>
            </a:lvl1pPr>
            <a:lvl2pPr>
              <a:defRPr sz="2600" b="1" i="0">
                <a:latin typeface="Helvetica" pitchFamily="2" charset="0"/>
              </a:defRPr>
            </a:lvl2pPr>
            <a:lvl3pPr>
              <a:defRPr sz="2600" b="1" i="0">
                <a:latin typeface="Helvetica" pitchFamily="2" charset="0"/>
              </a:defRPr>
            </a:lvl3pPr>
            <a:lvl4pPr>
              <a:defRPr sz="2600" b="1" i="0">
                <a:latin typeface="Helvetica" pitchFamily="2" charset="0"/>
              </a:defRPr>
            </a:lvl4pPr>
            <a:lvl5pPr>
              <a:defRPr sz="2600" b="1" i="0">
                <a:latin typeface="Helvetica" pitchFamily="2" charset="0"/>
              </a:defRPr>
            </a:lvl5pPr>
          </a:lstStyle>
          <a:p>
            <a:pPr lvl="0"/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376404450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_rels/slideMaster10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2" Type="http://schemas.openxmlformats.org/officeDocument/2006/relationships/theme" Target="../theme/theme10.xml"/><Relationship Id="rId1" Type="http://schemas.openxmlformats.org/officeDocument/2006/relationships/slideLayout" Target="../slideLayouts/slideLayout2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4.bin"/></Relationships>
</file>

<file path=ppt/slideMasters/_rels/slideMaster11.xml.rels><?xml version="1.0" encoding="UTF-8" standalone="yes"?>
<Relationships xmlns="http://schemas.openxmlformats.org/package/2006/relationships"><Relationship Id="rId3" Type="http://schemas.openxmlformats.org/officeDocument/2006/relationships/tags" Target="../tags/tag26.xml"/><Relationship Id="rId2" Type="http://schemas.openxmlformats.org/officeDocument/2006/relationships/theme" Target="../theme/theme11.xml"/><Relationship Id="rId1" Type="http://schemas.openxmlformats.org/officeDocument/2006/relationships/slideLayout" Target="../slideLayouts/slideLayout2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.bin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.xml"/><Relationship Id="rId3" Type="http://schemas.openxmlformats.org/officeDocument/2006/relationships/slideLayout" Target="../slideLayouts/slideLayout6.xml"/><Relationship Id="rId7" Type="http://schemas.openxmlformats.org/officeDocument/2006/relationships/slideLayout" Target="../slideLayouts/slideLayout10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5.xml"/><Relationship Id="rId1" Type="http://schemas.openxmlformats.org/officeDocument/2006/relationships/slideLayout" Target="../slideLayouts/slideLayout4.xml"/><Relationship Id="rId6" Type="http://schemas.openxmlformats.org/officeDocument/2006/relationships/slideLayout" Target="../slideLayouts/slideLayout9.xml"/><Relationship Id="rId11" Type="http://schemas.openxmlformats.org/officeDocument/2006/relationships/oleObject" Target="../embeddings/oleObject4.bin"/><Relationship Id="rId5" Type="http://schemas.openxmlformats.org/officeDocument/2006/relationships/slideLayout" Target="../slideLayouts/slideLayout8.xml"/><Relationship Id="rId10" Type="http://schemas.openxmlformats.org/officeDocument/2006/relationships/tags" Target="../tags/tag5.xml"/><Relationship Id="rId4" Type="http://schemas.openxmlformats.org/officeDocument/2006/relationships/slideLayout" Target="../slideLayouts/slideLayout7.xml"/><Relationship Id="rId9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heme" Target="../theme/theme5.xm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oleObject" Target="../embeddings/oleObject13.bin"/><Relationship Id="rId5" Type="http://schemas.openxmlformats.org/officeDocument/2006/relationships/slideLayout" Target="../slideLayouts/slideLayout17.xml"/><Relationship Id="rId10" Type="http://schemas.openxmlformats.org/officeDocument/2006/relationships/tags" Target="../tags/tag14.xml"/><Relationship Id="rId4" Type="http://schemas.openxmlformats.org/officeDocument/2006/relationships/slideLayout" Target="../slideLayouts/slideLayout16.xml"/><Relationship Id="rId9" Type="http://schemas.openxmlformats.org/officeDocument/2006/relationships/theme" Target="../theme/theme6.xml"/></Relationships>
</file>

<file path=ppt/slideMasters/_rels/slideMaster7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2" Type="http://schemas.openxmlformats.org/officeDocument/2006/relationships/theme" Target="../theme/theme7.xml"/><Relationship Id="rId1" Type="http://schemas.openxmlformats.org/officeDocument/2006/relationships/slideLayout" Target="../slideLayouts/slideLayout2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Masters/_rels/slideMaster8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2" Type="http://schemas.openxmlformats.org/officeDocument/2006/relationships/theme" Target="../theme/theme8.xml"/><Relationship Id="rId1" Type="http://schemas.openxmlformats.org/officeDocument/2006/relationships/slideLayout" Target="../slideLayouts/slideLayout2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Masters/_rels/slideMaster9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2" Type="http://schemas.openxmlformats.org/officeDocument/2006/relationships/theme" Target="../theme/theme9.xml"/><Relationship Id="rId1" Type="http://schemas.openxmlformats.org/officeDocument/2006/relationships/slideLayout" Target="../slideLayouts/slideLayout2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Predmet 1" hidden="1">
            <a:extLst>
              <a:ext uri="{FF2B5EF4-FFF2-40B4-BE49-F238E27FC236}">
                <a16:creationId xmlns:a16="http://schemas.microsoft.com/office/drawing/2014/main" id="{0C5DDA13-A3F4-ED7C-4115-771F2F9D0E6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1026" name="Predmet 1" hidden="1">
                        <a:extLst>
                          <a:ext uri="{FF2B5EF4-FFF2-40B4-BE49-F238E27FC236}">
                            <a16:creationId xmlns:a16="http://schemas.microsoft.com/office/drawing/2014/main" id="{0C5DDA13-A3F4-ED7C-4115-771F2F9D0E64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Holder 3">
            <a:extLst>
              <a:ext uri="{FF2B5EF4-FFF2-40B4-BE49-F238E27FC236}">
                <a16:creationId xmlns:a16="http://schemas.microsoft.com/office/drawing/2014/main" id="{8F2C6CA4-07E1-CD3C-3E93-0E0260933973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1004888" y="2601913"/>
            <a:ext cx="18094325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endParaRPr lang="sl-SI" altLang="sl-SI"/>
          </a:p>
        </p:txBody>
      </p:sp>
      <p:sp>
        <p:nvSpPr>
          <p:cNvPr id="1028" name="bg object 16">
            <a:extLst>
              <a:ext uri="{FF2B5EF4-FFF2-40B4-BE49-F238E27FC236}">
                <a16:creationId xmlns:a16="http://schemas.microsoft.com/office/drawing/2014/main" id="{E3C132D9-C61C-AD88-C6F1-86B240623A74}"/>
              </a:ext>
            </a:extLst>
          </p:cNvPr>
          <p:cNvSpPr>
            <a:spLocks/>
          </p:cNvSpPr>
          <p:nvPr userDrawn="1"/>
        </p:nvSpPr>
        <p:spPr bwMode="auto">
          <a:xfrm>
            <a:off x="0" y="0"/>
            <a:ext cx="20104100" cy="1530350"/>
          </a:xfrm>
          <a:custGeom>
            <a:avLst/>
            <a:gdLst>
              <a:gd name="T0" fmla="*/ 0 w 20104100"/>
              <a:gd name="T1" fmla="*/ 1530592 h 1530985"/>
              <a:gd name="T2" fmla="*/ 20104099 w 20104100"/>
              <a:gd name="T3" fmla="*/ 1530592 h 1530985"/>
              <a:gd name="T4" fmla="*/ 20104099 w 20104100"/>
              <a:gd name="T5" fmla="*/ 0 h 1530985"/>
              <a:gd name="T6" fmla="*/ 0 w 20104100"/>
              <a:gd name="T7" fmla="*/ 0 h 1530985"/>
              <a:gd name="T8" fmla="*/ 0 w 20104100"/>
              <a:gd name="T9" fmla="*/ 1530592 h 15309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0104100" h="1530985">
                <a:moveTo>
                  <a:pt x="0" y="1530592"/>
                </a:moveTo>
                <a:lnTo>
                  <a:pt x="20104099" y="1530592"/>
                </a:lnTo>
                <a:lnTo>
                  <a:pt x="20104099" y="0"/>
                </a:lnTo>
                <a:lnTo>
                  <a:pt x="0" y="0"/>
                </a:lnTo>
                <a:lnTo>
                  <a:pt x="0" y="1530592"/>
                </a:lnTo>
                <a:close/>
              </a:path>
            </a:pathLst>
          </a:custGeom>
          <a:solidFill>
            <a:srgbClr val="393A41">
              <a:alpha val="94901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en-AU"/>
          </a:p>
        </p:txBody>
      </p:sp>
      <p:sp>
        <p:nvSpPr>
          <p:cNvPr id="1029" name="object 2">
            <a:extLst>
              <a:ext uri="{FF2B5EF4-FFF2-40B4-BE49-F238E27FC236}">
                <a16:creationId xmlns:a16="http://schemas.microsoft.com/office/drawing/2014/main" id="{C5B88AC9-4CC4-2989-9A89-837C6F7D0B24}"/>
              </a:ext>
            </a:extLst>
          </p:cNvPr>
          <p:cNvSpPr>
            <a:spLocks/>
          </p:cNvSpPr>
          <p:nvPr userDrawn="1"/>
        </p:nvSpPr>
        <p:spPr bwMode="auto">
          <a:xfrm>
            <a:off x="16451263" y="663575"/>
            <a:ext cx="3090862" cy="254000"/>
          </a:xfrm>
          <a:custGeom>
            <a:avLst/>
            <a:gdLst>
              <a:gd name="T0" fmla="*/ 343852 w 3090544"/>
              <a:gd name="T1" fmla="*/ 175133 h 253365"/>
              <a:gd name="T2" fmla="*/ 293979 w 3090544"/>
              <a:gd name="T3" fmla="*/ 165417 h 253365"/>
              <a:gd name="T4" fmla="*/ 266420 w 3090544"/>
              <a:gd name="T5" fmla="*/ 207365 h 253365"/>
              <a:gd name="T6" fmla="*/ 293979 w 3090544"/>
              <a:gd name="T7" fmla="*/ 249301 h 253365"/>
              <a:gd name="T8" fmla="*/ 343852 w 3090544"/>
              <a:gd name="T9" fmla="*/ 239534 h 253365"/>
              <a:gd name="T10" fmla="*/ 622452 w 3090544"/>
              <a:gd name="T11" fmla="*/ 246989 h 253365"/>
              <a:gd name="T12" fmla="*/ 413931 w 3090544"/>
              <a:gd name="T13" fmla="*/ 7061 h 253365"/>
              <a:gd name="T14" fmla="*/ 75628 w 3090544"/>
              <a:gd name="T15" fmla="*/ 9728 h 253365"/>
              <a:gd name="T16" fmla="*/ 0 w 3090544"/>
              <a:gd name="T17" fmla="*/ 123494 h 253365"/>
              <a:gd name="T18" fmla="*/ 75628 w 3090544"/>
              <a:gd name="T19" fmla="*/ 237286 h 253365"/>
              <a:gd name="T20" fmla="*/ 238823 w 3090544"/>
              <a:gd name="T21" fmla="*/ 203530 h 253365"/>
              <a:gd name="T22" fmla="*/ 164350 w 3090544"/>
              <a:gd name="T23" fmla="*/ 153962 h 253365"/>
              <a:gd name="T24" fmla="*/ 181749 w 3090544"/>
              <a:gd name="T25" fmla="*/ 65608 h 253365"/>
              <a:gd name="T26" fmla="*/ 258483 w 3090544"/>
              <a:gd name="T27" fmla="*/ 44411 h 253365"/>
              <a:gd name="T28" fmla="*/ 303085 w 3090544"/>
              <a:gd name="T29" fmla="*/ 74142 h 253365"/>
              <a:gd name="T30" fmla="*/ 1268044 w 3090544"/>
              <a:gd name="T31" fmla="*/ 248894 h 253365"/>
              <a:gd name="T32" fmla="*/ 1146378 w 3090544"/>
              <a:gd name="T33" fmla="*/ 92595 h 253365"/>
              <a:gd name="T34" fmla="*/ 1023289 w 3090544"/>
              <a:gd name="T35" fmla="*/ 174459 h 253365"/>
              <a:gd name="T36" fmla="*/ 1023289 w 3090544"/>
              <a:gd name="T37" fmla="*/ 174459 h 253365"/>
              <a:gd name="T38" fmla="*/ 906818 w 3090544"/>
              <a:gd name="T39" fmla="*/ 52743 h 253365"/>
              <a:gd name="T40" fmla="*/ 864831 w 3090544"/>
              <a:gd name="T41" fmla="*/ 218249 h 253365"/>
              <a:gd name="T42" fmla="*/ 1268044 w 3090544"/>
              <a:gd name="T43" fmla="*/ 248894 h 253365"/>
              <a:gd name="T44" fmla="*/ 1706829 w 3090544"/>
              <a:gd name="T45" fmla="*/ 43764 h 253365"/>
              <a:gd name="T46" fmla="*/ 1585315 w 3090544"/>
              <a:gd name="T47" fmla="*/ 2298 h 253365"/>
              <a:gd name="T48" fmla="*/ 1564487 w 3090544"/>
              <a:gd name="T49" fmla="*/ 183870 h 253365"/>
              <a:gd name="T50" fmla="*/ 1458353 w 3090544"/>
              <a:gd name="T51" fmla="*/ 205105 h 253365"/>
              <a:gd name="T52" fmla="*/ 1538414 w 3090544"/>
              <a:gd name="T53" fmla="*/ 49377 h 253365"/>
              <a:gd name="T54" fmla="*/ 1585315 w 3090544"/>
              <a:gd name="T55" fmla="*/ 124942 h 253365"/>
              <a:gd name="T56" fmla="*/ 1301597 w 3090544"/>
              <a:gd name="T57" fmla="*/ 0 h 253365"/>
              <a:gd name="T58" fmla="*/ 1604314 w 3090544"/>
              <a:gd name="T59" fmla="*/ 245668 h 253365"/>
              <a:gd name="T60" fmla="*/ 1735251 w 3090544"/>
              <a:gd name="T61" fmla="*/ 164058 h 253365"/>
              <a:gd name="T62" fmla="*/ 2206523 w 3090544"/>
              <a:gd name="T63" fmla="*/ 157530 h 253365"/>
              <a:gd name="T64" fmla="*/ 2261095 w 3090544"/>
              <a:gd name="T65" fmla="*/ 106921 h 253365"/>
              <a:gd name="T66" fmla="*/ 2252942 w 3090544"/>
              <a:gd name="T67" fmla="*/ 43802 h 253365"/>
              <a:gd name="T68" fmla="*/ 2154047 w 3090544"/>
              <a:gd name="T69" fmla="*/ 0 h 253365"/>
              <a:gd name="T70" fmla="*/ 1977072 w 3090544"/>
              <a:gd name="T71" fmla="*/ 248894 h 253365"/>
              <a:gd name="T72" fmla="*/ 2073948 w 3090544"/>
              <a:gd name="T73" fmla="*/ 47777 h 253365"/>
              <a:gd name="T74" fmla="*/ 2104517 w 3090544"/>
              <a:gd name="T75" fmla="*/ 89331 h 253365"/>
              <a:gd name="T76" fmla="*/ 2063915 w 3090544"/>
              <a:gd name="T77" fmla="*/ 136613 h 253365"/>
              <a:gd name="T78" fmla="*/ 2081834 w 3090544"/>
              <a:gd name="T79" fmla="*/ 248894 h 253365"/>
              <a:gd name="T80" fmla="*/ 2366886 w 3090544"/>
              <a:gd name="T81" fmla="*/ 12 h 253365"/>
              <a:gd name="T82" fmla="*/ 2523629 w 3090544"/>
              <a:gd name="T83" fmla="*/ 12 h 253365"/>
              <a:gd name="T84" fmla="*/ 3032163 w 3090544"/>
              <a:gd name="T85" fmla="*/ 174459 h 253365"/>
              <a:gd name="T86" fmla="*/ 2845473 w 3090544"/>
              <a:gd name="T87" fmla="*/ 0 h 253365"/>
              <a:gd name="T88" fmla="*/ 2782201 w 3090544"/>
              <a:gd name="T89" fmla="*/ 92595 h 253365"/>
              <a:gd name="T90" fmla="*/ 2688132 w 3090544"/>
              <a:gd name="T91" fmla="*/ 0 h 253365"/>
              <a:gd name="T92" fmla="*/ 2661729 w 3090544"/>
              <a:gd name="T93" fmla="*/ 248894 h 253365"/>
              <a:gd name="T94" fmla="*/ 2902902 w 3090544"/>
              <a:gd name="T95" fmla="*/ 248894 h 25336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3090544" h="253365">
                <a:moveTo>
                  <a:pt x="357009" y="207365"/>
                </a:moveTo>
                <a:lnTo>
                  <a:pt x="353491" y="189585"/>
                </a:lnTo>
                <a:lnTo>
                  <a:pt x="343852" y="175133"/>
                </a:lnTo>
                <a:lnTo>
                  <a:pt x="329476" y="165417"/>
                </a:lnTo>
                <a:lnTo>
                  <a:pt x="311746" y="161861"/>
                </a:lnTo>
                <a:lnTo>
                  <a:pt x="293979" y="165417"/>
                </a:lnTo>
                <a:lnTo>
                  <a:pt x="279577" y="175133"/>
                </a:lnTo>
                <a:lnTo>
                  <a:pt x="269938" y="189585"/>
                </a:lnTo>
                <a:lnTo>
                  <a:pt x="266420" y="207365"/>
                </a:lnTo>
                <a:lnTo>
                  <a:pt x="269938" y="225056"/>
                </a:lnTo>
                <a:lnTo>
                  <a:pt x="279577" y="239534"/>
                </a:lnTo>
                <a:lnTo>
                  <a:pt x="293979" y="249301"/>
                </a:lnTo>
                <a:lnTo>
                  <a:pt x="311746" y="252895"/>
                </a:lnTo>
                <a:lnTo>
                  <a:pt x="329476" y="249301"/>
                </a:lnTo>
                <a:lnTo>
                  <a:pt x="343852" y="239534"/>
                </a:lnTo>
                <a:lnTo>
                  <a:pt x="353491" y="225056"/>
                </a:lnTo>
                <a:lnTo>
                  <a:pt x="357009" y="207365"/>
                </a:lnTo>
                <a:close/>
              </a:path>
              <a:path w="3090544" h="253365">
                <a:moveTo>
                  <a:pt x="622452" y="246989"/>
                </a:moveTo>
                <a:lnTo>
                  <a:pt x="493928" y="81991"/>
                </a:lnTo>
                <a:lnTo>
                  <a:pt x="469874" y="51904"/>
                </a:lnTo>
                <a:lnTo>
                  <a:pt x="413931" y="7061"/>
                </a:lnTo>
                <a:lnTo>
                  <a:pt x="377621" y="12"/>
                </a:lnTo>
                <a:lnTo>
                  <a:pt x="123710" y="12"/>
                </a:lnTo>
                <a:lnTo>
                  <a:pt x="75628" y="9728"/>
                </a:lnTo>
                <a:lnTo>
                  <a:pt x="36296" y="36195"/>
                </a:lnTo>
                <a:lnTo>
                  <a:pt x="9740" y="75450"/>
                </a:lnTo>
                <a:lnTo>
                  <a:pt x="0" y="123494"/>
                </a:lnTo>
                <a:lnTo>
                  <a:pt x="9740" y="171564"/>
                </a:lnTo>
                <a:lnTo>
                  <a:pt x="36296" y="210820"/>
                </a:lnTo>
                <a:lnTo>
                  <a:pt x="75628" y="237286"/>
                </a:lnTo>
                <a:lnTo>
                  <a:pt x="123710" y="246989"/>
                </a:lnTo>
                <a:lnTo>
                  <a:pt x="238823" y="246989"/>
                </a:lnTo>
                <a:lnTo>
                  <a:pt x="238823" y="203530"/>
                </a:lnTo>
                <a:lnTo>
                  <a:pt x="207429" y="197129"/>
                </a:lnTo>
                <a:lnTo>
                  <a:pt x="181724" y="179705"/>
                </a:lnTo>
                <a:lnTo>
                  <a:pt x="164350" y="153962"/>
                </a:lnTo>
                <a:lnTo>
                  <a:pt x="157975" y="122542"/>
                </a:lnTo>
                <a:lnTo>
                  <a:pt x="164363" y="91198"/>
                </a:lnTo>
                <a:lnTo>
                  <a:pt x="181749" y="65608"/>
                </a:lnTo>
                <a:lnTo>
                  <a:pt x="207530" y="48361"/>
                </a:lnTo>
                <a:lnTo>
                  <a:pt x="239064" y="42037"/>
                </a:lnTo>
                <a:lnTo>
                  <a:pt x="258483" y="44411"/>
                </a:lnTo>
                <a:lnTo>
                  <a:pt x="275844" y="51041"/>
                </a:lnTo>
                <a:lnTo>
                  <a:pt x="290817" y="61201"/>
                </a:lnTo>
                <a:lnTo>
                  <a:pt x="303085" y="74142"/>
                </a:lnTo>
                <a:lnTo>
                  <a:pt x="436664" y="246989"/>
                </a:lnTo>
                <a:lnTo>
                  <a:pt x="622452" y="246989"/>
                </a:lnTo>
                <a:close/>
              </a:path>
              <a:path w="3090544" h="253365">
                <a:moveTo>
                  <a:pt x="1268044" y="248894"/>
                </a:moveTo>
                <a:lnTo>
                  <a:pt x="1244193" y="218249"/>
                </a:lnTo>
                <a:lnTo>
                  <a:pt x="1210106" y="174459"/>
                </a:lnTo>
                <a:lnTo>
                  <a:pt x="1146378" y="92595"/>
                </a:lnTo>
                <a:lnTo>
                  <a:pt x="1074293" y="0"/>
                </a:lnTo>
                <a:lnTo>
                  <a:pt x="1023289" y="0"/>
                </a:lnTo>
                <a:lnTo>
                  <a:pt x="1023289" y="174459"/>
                </a:lnTo>
                <a:lnTo>
                  <a:pt x="894892" y="174459"/>
                </a:lnTo>
                <a:lnTo>
                  <a:pt x="960107" y="92595"/>
                </a:lnTo>
                <a:lnTo>
                  <a:pt x="1023289" y="174459"/>
                </a:lnTo>
                <a:lnTo>
                  <a:pt x="1023289" y="0"/>
                </a:lnTo>
                <a:lnTo>
                  <a:pt x="866051" y="0"/>
                </a:lnTo>
                <a:lnTo>
                  <a:pt x="906818" y="52743"/>
                </a:lnTo>
                <a:lnTo>
                  <a:pt x="746315" y="248894"/>
                </a:lnTo>
                <a:lnTo>
                  <a:pt x="839660" y="248894"/>
                </a:lnTo>
                <a:lnTo>
                  <a:pt x="864831" y="218249"/>
                </a:lnTo>
                <a:lnTo>
                  <a:pt x="1057160" y="218249"/>
                </a:lnTo>
                <a:lnTo>
                  <a:pt x="1080795" y="248894"/>
                </a:lnTo>
                <a:lnTo>
                  <a:pt x="1268044" y="248894"/>
                </a:lnTo>
                <a:close/>
              </a:path>
              <a:path w="3090544" h="253365">
                <a:moveTo>
                  <a:pt x="1740636" y="125158"/>
                </a:moveTo>
                <a:lnTo>
                  <a:pt x="1735315" y="86347"/>
                </a:lnTo>
                <a:lnTo>
                  <a:pt x="1706829" y="43764"/>
                </a:lnTo>
                <a:lnTo>
                  <a:pt x="1654098" y="13538"/>
                </a:lnTo>
                <a:lnTo>
                  <a:pt x="1604657" y="3365"/>
                </a:lnTo>
                <a:lnTo>
                  <a:pt x="1585315" y="2298"/>
                </a:lnTo>
                <a:lnTo>
                  <a:pt x="1585315" y="124942"/>
                </a:lnTo>
                <a:lnTo>
                  <a:pt x="1580108" y="158673"/>
                </a:lnTo>
                <a:lnTo>
                  <a:pt x="1564487" y="183870"/>
                </a:lnTo>
                <a:lnTo>
                  <a:pt x="1538516" y="199644"/>
                </a:lnTo>
                <a:lnTo>
                  <a:pt x="1502232" y="205105"/>
                </a:lnTo>
                <a:lnTo>
                  <a:pt x="1458353" y="205105"/>
                </a:lnTo>
                <a:lnTo>
                  <a:pt x="1458353" y="43764"/>
                </a:lnTo>
                <a:lnTo>
                  <a:pt x="1502232" y="43764"/>
                </a:lnTo>
                <a:lnTo>
                  <a:pt x="1538414" y="49377"/>
                </a:lnTo>
                <a:lnTo>
                  <a:pt x="1564398" y="65506"/>
                </a:lnTo>
                <a:lnTo>
                  <a:pt x="1580070" y="91059"/>
                </a:lnTo>
                <a:lnTo>
                  <a:pt x="1585315" y="124942"/>
                </a:lnTo>
                <a:lnTo>
                  <a:pt x="1585315" y="2298"/>
                </a:lnTo>
                <a:lnTo>
                  <a:pt x="1543723" y="0"/>
                </a:lnTo>
                <a:lnTo>
                  <a:pt x="1301597" y="0"/>
                </a:lnTo>
                <a:lnTo>
                  <a:pt x="1301597" y="248894"/>
                </a:lnTo>
                <a:lnTo>
                  <a:pt x="1543723" y="248894"/>
                </a:lnTo>
                <a:lnTo>
                  <a:pt x="1604314" y="245668"/>
                </a:lnTo>
                <a:lnTo>
                  <a:pt x="1653654" y="235839"/>
                </a:lnTo>
                <a:lnTo>
                  <a:pt x="1691855" y="219138"/>
                </a:lnTo>
                <a:lnTo>
                  <a:pt x="1735251" y="164058"/>
                </a:lnTo>
                <a:lnTo>
                  <a:pt x="1740636" y="125158"/>
                </a:lnTo>
                <a:close/>
              </a:path>
              <a:path w="3090544" h="253365">
                <a:moveTo>
                  <a:pt x="2277529" y="248894"/>
                </a:moveTo>
                <a:lnTo>
                  <a:pt x="2206523" y="157530"/>
                </a:lnTo>
                <a:lnTo>
                  <a:pt x="2231339" y="145008"/>
                </a:lnTo>
                <a:lnTo>
                  <a:pt x="2249703" y="127965"/>
                </a:lnTo>
                <a:lnTo>
                  <a:pt x="2261095" y="106921"/>
                </a:lnTo>
                <a:lnTo>
                  <a:pt x="2265019" y="82397"/>
                </a:lnTo>
                <a:lnTo>
                  <a:pt x="2258149" y="50393"/>
                </a:lnTo>
                <a:lnTo>
                  <a:pt x="2252942" y="43802"/>
                </a:lnTo>
                <a:lnTo>
                  <a:pt x="2237448" y="24193"/>
                </a:lnTo>
                <a:lnTo>
                  <a:pt x="2202789" y="6502"/>
                </a:lnTo>
                <a:lnTo>
                  <a:pt x="2154047" y="0"/>
                </a:lnTo>
                <a:lnTo>
                  <a:pt x="1820545" y="0"/>
                </a:lnTo>
                <a:lnTo>
                  <a:pt x="1820545" y="248894"/>
                </a:lnTo>
                <a:lnTo>
                  <a:pt x="1977072" y="248894"/>
                </a:lnTo>
                <a:lnTo>
                  <a:pt x="1977072" y="43802"/>
                </a:lnTo>
                <a:lnTo>
                  <a:pt x="2047989" y="43802"/>
                </a:lnTo>
                <a:lnTo>
                  <a:pt x="2073948" y="47777"/>
                </a:lnTo>
                <a:lnTo>
                  <a:pt x="2091486" y="58178"/>
                </a:lnTo>
                <a:lnTo>
                  <a:pt x="2101392" y="72783"/>
                </a:lnTo>
                <a:lnTo>
                  <a:pt x="2104517" y="89331"/>
                </a:lnTo>
                <a:lnTo>
                  <a:pt x="2098624" y="111201"/>
                </a:lnTo>
                <a:lnTo>
                  <a:pt x="2083714" y="127012"/>
                </a:lnTo>
                <a:lnTo>
                  <a:pt x="2063915" y="136613"/>
                </a:lnTo>
                <a:lnTo>
                  <a:pt x="2043353" y="139852"/>
                </a:lnTo>
                <a:lnTo>
                  <a:pt x="2022157" y="139852"/>
                </a:lnTo>
                <a:lnTo>
                  <a:pt x="2081834" y="248894"/>
                </a:lnTo>
                <a:lnTo>
                  <a:pt x="2277529" y="248894"/>
                </a:lnTo>
                <a:close/>
              </a:path>
              <a:path w="3090544" h="253365">
                <a:moveTo>
                  <a:pt x="2523629" y="12"/>
                </a:moveTo>
                <a:lnTo>
                  <a:pt x="2366886" y="12"/>
                </a:lnTo>
                <a:lnTo>
                  <a:pt x="2366886" y="248894"/>
                </a:lnTo>
                <a:lnTo>
                  <a:pt x="2523629" y="248894"/>
                </a:lnTo>
                <a:lnTo>
                  <a:pt x="2523629" y="12"/>
                </a:lnTo>
                <a:close/>
              </a:path>
              <a:path w="3090544" h="253365">
                <a:moveTo>
                  <a:pt x="3090049" y="248894"/>
                </a:moveTo>
                <a:lnTo>
                  <a:pt x="3066224" y="218249"/>
                </a:lnTo>
                <a:lnTo>
                  <a:pt x="3032163" y="174459"/>
                </a:lnTo>
                <a:lnTo>
                  <a:pt x="2968498" y="92595"/>
                </a:lnTo>
                <a:lnTo>
                  <a:pt x="2896476" y="0"/>
                </a:lnTo>
                <a:lnTo>
                  <a:pt x="2845473" y="0"/>
                </a:lnTo>
                <a:lnTo>
                  <a:pt x="2845473" y="174459"/>
                </a:lnTo>
                <a:lnTo>
                  <a:pt x="2716720" y="174459"/>
                </a:lnTo>
                <a:lnTo>
                  <a:pt x="2782201" y="92595"/>
                </a:lnTo>
                <a:lnTo>
                  <a:pt x="2845473" y="174459"/>
                </a:lnTo>
                <a:lnTo>
                  <a:pt x="2845473" y="0"/>
                </a:lnTo>
                <a:lnTo>
                  <a:pt x="2688132" y="0"/>
                </a:lnTo>
                <a:lnTo>
                  <a:pt x="2728988" y="52743"/>
                </a:lnTo>
                <a:lnTo>
                  <a:pt x="2568397" y="248894"/>
                </a:lnTo>
                <a:lnTo>
                  <a:pt x="2661729" y="248894"/>
                </a:lnTo>
                <a:lnTo>
                  <a:pt x="2686913" y="218249"/>
                </a:lnTo>
                <a:lnTo>
                  <a:pt x="2879267" y="218249"/>
                </a:lnTo>
                <a:lnTo>
                  <a:pt x="2902902" y="248894"/>
                </a:lnTo>
                <a:lnTo>
                  <a:pt x="3090049" y="248894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en-A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51" r:id="rId1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>
          <a:solidFill>
            <a:schemeClr val="tx2"/>
          </a:solidFill>
          <a:latin typeface="Calibri" panose="020F0502020204030204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>
          <a:solidFill>
            <a:schemeClr val="tx2"/>
          </a:solidFill>
          <a:latin typeface="Calibri" panose="020F0502020204030204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>
          <a:solidFill>
            <a:schemeClr val="tx2"/>
          </a:solidFill>
          <a:latin typeface="Calibri" panose="020F0502020204030204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>
          <a:solidFill>
            <a:schemeClr val="tx2"/>
          </a:solidFill>
          <a:latin typeface="Calibri" panose="020F0502020204030204" pitchFamily="34" charset="0"/>
        </a:defRPr>
      </a:lvl5pPr>
      <a:lvl6pPr marL="457200" algn="ctr" rtl="0" eaLnBrk="0" fontAlgn="base" hangingPunct="0">
        <a:spcBef>
          <a:spcPct val="0"/>
        </a:spcBef>
        <a:spcAft>
          <a:spcPct val="0"/>
        </a:spcAft>
        <a:defRPr>
          <a:solidFill>
            <a:schemeClr val="tx2"/>
          </a:solidFill>
          <a:latin typeface="Calibri" panose="020F0502020204030204" pitchFamily="34" charset="0"/>
        </a:defRPr>
      </a:lvl6pPr>
      <a:lvl7pPr marL="914400" algn="ctr" rtl="0" eaLnBrk="0" fontAlgn="base" hangingPunct="0">
        <a:spcBef>
          <a:spcPct val="0"/>
        </a:spcBef>
        <a:spcAft>
          <a:spcPct val="0"/>
        </a:spcAft>
        <a:defRPr>
          <a:solidFill>
            <a:schemeClr val="tx2"/>
          </a:solidFill>
          <a:latin typeface="Calibri" panose="020F0502020204030204" pitchFamily="34" charset="0"/>
        </a:defRPr>
      </a:lvl7pPr>
      <a:lvl8pPr marL="1371600" algn="ctr" rtl="0" eaLnBrk="0" fontAlgn="base" hangingPunct="0">
        <a:spcBef>
          <a:spcPct val="0"/>
        </a:spcBef>
        <a:spcAft>
          <a:spcPct val="0"/>
        </a:spcAft>
        <a:defRPr>
          <a:solidFill>
            <a:schemeClr val="tx2"/>
          </a:solidFill>
          <a:latin typeface="Calibri" panose="020F0502020204030204" pitchFamily="34" charset="0"/>
        </a:defRPr>
      </a:lvl8pPr>
      <a:lvl9pPr marL="1828800" algn="ctr" rtl="0" eaLnBrk="0" fontAlgn="base" hangingPunct="0">
        <a:spcBef>
          <a:spcPct val="0"/>
        </a:spcBef>
        <a:spcAft>
          <a:spcPct val="0"/>
        </a:spcAft>
        <a:defRPr>
          <a:solidFill>
            <a:schemeClr val="tx2"/>
          </a:solidFill>
          <a:latin typeface="Calibri" panose="020F0502020204030204" pitchFamily="34" charset="0"/>
        </a:defRPr>
      </a:lvl9pPr>
    </p:titleStyle>
    <p:bodyStyle>
      <a:lvl1pPr algn="l" rtl="0" eaLnBrk="0" fontAlgn="base" hangingPunct="0">
        <a:spcBef>
          <a:spcPct val="20000"/>
        </a:spcBef>
        <a:spcAft>
          <a:spcPct val="0"/>
        </a:spcAft>
        <a:defRPr>
          <a:solidFill>
            <a:schemeClr val="tx1"/>
          </a:solidFill>
          <a:latin typeface="Helvetica" pitchFamily="2" charset="0"/>
          <a:ea typeface="+mn-ea"/>
          <a:cs typeface="+mn-cs"/>
        </a:defRPr>
      </a:lvl1pPr>
      <a:lvl2pPr marL="457200" algn="l" rtl="0" eaLnBrk="0" fontAlgn="base" hangingPunct="0">
        <a:spcBef>
          <a:spcPct val="20000"/>
        </a:spcBef>
        <a:spcAft>
          <a:spcPct val="0"/>
        </a:spcAft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0" fontAlgn="base" hangingPunct="0">
        <a:spcBef>
          <a:spcPct val="20000"/>
        </a:spcBef>
        <a:spcAft>
          <a:spcPct val="0"/>
        </a:spcAft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0" fontAlgn="base" hangingPunct="0">
        <a:spcBef>
          <a:spcPct val="20000"/>
        </a:spcBef>
        <a:spcAft>
          <a:spcPct val="0"/>
        </a:spcAft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0" fontAlgn="base" hangingPunct="0">
        <a:spcBef>
          <a:spcPct val="20000"/>
        </a:spcBef>
        <a:spcAft>
          <a:spcPct val="0"/>
        </a:spcAft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42" name="Predmet 3" hidden="1">
            <a:extLst>
              <a:ext uri="{FF2B5EF4-FFF2-40B4-BE49-F238E27FC236}">
                <a16:creationId xmlns:a16="http://schemas.microsoft.com/office/drawing/2014/main" id="{4971FBD9-F2F9-2304-4D8A-7A785FC1ACD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10242" name="Predmet 3" hidden="1">
                        <a:extLst>
                          <a:ext uri="{FF2B5EF4-FFF2-40B4-BE49-F238E27FC236}">
                            <a16:creationId xmlns:a16="http://schemas.microsoft.com/office/drawing/2014/main" id="{4971FBD9-F2F9-2304-4D8A-7A785FC1ACD8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bg object 16">
            <a:extLst>
              <a:ext uri="{FF2B5EF4-FFF2-40B4-BE49-F238E27FC236}">
                <a16:creationId xmlns:a16="http://schemas.microsoft.com/office/drawing/2014/main" id="{4C54B1EC-C60C-37E0-1375-2F6658242F0D}"/>
              </a:ext>
            </a:extLst>
          </p:cNvPr>
          <p:cNvSpPr/>
          <p:nvPr userDrawn="1"/>
        </p:nvSpPr>
        <p:spPr>
          <a:xfrm>
            <a:off x="0" y="0"/>
            <a:ext cx="20104100" cy="1546225"/>
          </a:xfrm>
          <a:custGeom>
            <a:avLst/>
            <a:gdLst/>
            <a:ahLst/>
            <a:cxnLst/>
            <a:rect l="l" t="t" r="r" b="b"/>
            <a:pathLst>
              <a:path w="20104100" h="1530985">
                <a:moveTo>
                  <a:pt x="0" y="1530592"/>
                </a:moveTo>
                <a:lnTo>
                  <a:pt x="20104099" y="1530592"/>
                </a:lnTo>
                <a:lnTo>
                  <a:pt x="20104099" y="0"/>
                </a:lnTo>
                <a:lnTo>
                  <a:pt x="0" y="0"/>
                </a:lnTo>
                <a:lnTo>
                  <a:pt x="0" y="1530592"/>
                </a:lnTo>
                <a:close/>
              </a:path>
            </a:pathLst>
          </a:custGeom>
          <a:solidFill>
            <a:srgbClr val="6F778C"/>
          </a:solidFill>
        </p:spPr>
        <p:txBody>
          <a:bodyPr lIns="0" tIns="0" rIns="0" bIns="0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sz="1801" dirty="0">
              <a:latin typeface="+mn-lt"/>
            </a:endParaRPr>
          </a:p>
        </p:txBody>
      </p:sp>
      <p:sp>
        <p:nvSpPr>
          <p:cNvPr id="10" name="object 2">
            <a:extLst>
              <a:ext uri="{FF2B5EF4-FFF2-40B4-BE49-F238E27FC236}">
                <a16:creationId xmlns:a16="http://schemas.microsoft.com/office/drawing/2014/main" id="{845B9EE6-844F-D78B-3447-DF5BD089683B}"/>
              </a:ext>
            </a:extLst>
          </p:cNvPr>
          <p:cNvSpPr/>
          <p:nvPr userDrawn="1"/>
        </p:nvSpPr>
        <p:spPr>
          <a:xfrm>
            <a:off x="16451263" y="663575"/>
            <a:ext cx="3090862" cy="254000"/>
          </a:xfrm>
          <a:custGeom>
            <a:avLst/>
            <a:gdLst/>
            <a:ahLst/>
            <a:cxnLst/>
            <a:rect l="l" t="t" r="r" b="b"/>
            <a:pathLst>
              <a:path w="3090544" h="253365">
                <a:moveTo>
                  <a:pt x="357009" y="207365"/>
                </a:moveTo>
                <a:lnTo>
                  <a:pt x="353491" y="189585"/>
                </a:lnTo>
                <a:lnTo>
                  <a:pt x="343852" y="175133"/>
                </a:lnTo>
                <a:lnTo>
                  <a:pt x="329476" y="165417"/>
                </a:lnTo>
                <a:lnTo>
                  <a:pt x="311746" y="161861"/>
                </a:lnTo>
                <a:lnTo>
                  <a:pt x="293979" y="165417"/>
                </a:lnTo>
                <a:lnTo>
                  <a:pt x="279577" y="175133"/>
                </a:lnTo>
                <a:lnTo>
                  <a:pt x="269938" y="189585"/>
                </a:lnTo>
                <a:lnTo>
                  <a:pt x="266420" y="207365"/>
                </a:lnTo>
                <a:lnTo>
                  <a:pt x="269938" y="225056"/>
                </a:lnTo>
                <a:lnTo>
                  <a:pt x="279577" y="239534"/>
                </a:lnTo>
                <a:lnTo>
                  <a:pt x="293979" y="249301"/>
                </a:lnTo>
                <a:lnTo>
                  <a:pt x="311746" y="252895"/>
                </a:lnTo>
                <a:lnTo>
                  <a:pt x="329476" y="249301"/>
                </a:lnTo>
                <a:lnTo>
                  <a:pt x="343852" y="239534"/>
                </a:lnTo>
                <a:lnTo>
                  <a:pt x="353491" y="225056"/>
                </a:lnTo>
                <a:lnTo>
                  <a:pt x="357009" y="207365"/>
                </a:lnTo>
                <a:close/>
              </a:path>
              <a:path w="3090544" h="253365">
                <a:moveTo>
                  <a:pt x="622452" y="246989"/>
                </a:moveTo>
                <a:lnTo>
                  <a:pt x="493928" y="81991"/>
                </a:lnTo>
                <a:lnTo>
                  <a:pt x="469874" y="51904"/>
                </a:lnTo>
                <a:lnTo>
                  <a:pt x="413931" y="7061"/>
                </a:lnTo>
                <a:lnTo>
                  <a:pt x="377621" y="12"/>
                </a:lnTo>
                <a:lnTo>
                  <a:pt x="123710" y="12"/>
                </a:lnTo>
                <a:lnTo>
                  <a:pt x="75628" y="9728"/>
                </a:lnTo>
                <a:lnTo>
                  <a:pt x="36296" y="36195"/>
                </a:lnTo>
                <a:lnTo>
                  <a:pt x="9740" y="75450"/>
                </a:lnTo>
                <a:lnTo>
                  <a:pt x="0" y="123494"/>
                </a:lnTo>
                <a:lnTo>
                  <a:pt x="9740" y="171564"/>
                </a:lnTo>
                <a:lnTo>
                  <a:pt x="36296" y="210820"/>
                </a:lnTo>
                <a:lnTo>
                  <a:pt x="75628" y="237286"/>
                </a:lnTo>
                <a:lnTo>
                  <a:pt x="123710" y="246989"/>
                </a:lnTo>
                <a:lnTo>
                  <a:pt x="238823" y="246989"/>
                </a:lnTo>
                <a:lnTo>
                  <a:pt x="238823" y="203530"/>
                </a:lnTo>
                <a:lnTo>
                  <a:pt x="207429" y="197129"/>
                </a:lnTo>
                <a:lnTo>
                  <a:pt x="181724" y="179705"/>
                </a:lnTo>
                <a:lnTo>
                  <a:pt x="164350" y="153962"/>
                </a:lnTo>
                <a:lnTo>
                  <a:pt x="157975" y="122542"/>
                </a:lnTo>
                <a:lnTo>
                  <a:pt x="164363" y="91198"/>
                </a:lnTo>
                <a:lnTo>
                  <a:pt x="181749" y="65608"/>
                </a:lnTo>
                <a:lnTo>
                  <a:pt x="207530" y="48361"/>
                </a:lnTo>
                <a:lnTo>
                  <a:pt x="239064" y="42037"/>
                </a:lnTo>
                <a:lnTo>
                  <a:pt x="258483" y="44411"/>
                </a:lnTo>
                <a:lnTo>
                  <a:pt x="275844" y="51041"/>
                </a:lnTo>
                <a:lnTo>
                  <a:pt x="290817" y="61201"/>
                </a:lnTo>
                <a:lnTo>
                  <a:pt x="303085" y="74142"/>
                </a:lnTo>
                <a:lnTo>
                  <a:pt x="436664" y="246989"/>
                </a:lnTo>
                <a:lnTo>
                  <a:pt x="622452" y="246989"/>
                </a:lnTo>
                <a:close/>
              </a:path>
              <a:path w="3090544" h="253365">
                <a:moveTo>
                  <a:pt x="1268044" y="248894"/>
                </a:moveTo>
                <a:lnTo>
                  <a:pt x="1244193" y="218249"/>
                </a:lnTo>
                <a:lnTo>
                  <a:pt x="1210106" y="174459"/>
                </a:lnTo>
                <a:lnTo>
                  <a:pt x="1146378" y="92595"/>
                </a:lnTo>
                <a:lnTo>
                  <a:pt x="1074293" y="0"/>
                </a:lnTo>
                <a:lnTo>
                  <a:pt x="1023289" y="0"/>
                </a:lnTo>
                <a:lnTo>
                  <a:pt x="1023289" y="174459"/>
                </a:lnTo>
                <a:lnTo>
                  <a:pt x="894892" y="174459"/>
                </a:lnTo>
                <a:lnTo>
                  <a:pt x="960107" y="92595"/>
                </a:lnTo>
                <a:lnTo>
                  <a:pt x="1023289" y="174459"/>
                </a:lnTo>
                <a:lnTo>
                  <a:pt x="1023289" y="0"/>
                </a:lnTo>
                <a:lnTo>
                  <a:pt x="866051" y="0"/>
                </a:lnTo>
                <a:lnTo>
                  <a:pt x="906818" y="52743"/>
                </a:lnTo>
                <a:lnTo>
                  <a:pt x="746315" y="248894"/>
                </a:lnTo>
                <a:lnTo>
                  <a:pt x="839660" y="248894"/>
                </a:lnTo>
                <a:lnTo>
                  <a:pt x="864831" y="218249"/>
                </a:lnTo>
                <a:lnTo>
                  <a:pt x="1057160" y="218249"/>
                </a:lnTo>
                <a:lnTo>
                  <a:pt x="1080795" y="248894"/>
                </a:lnTo>
                <a:lnTo>
                  <a:pt x="1268044" y="248894"/>
                </a:lnTo>
                <a:close/>
              </a:path>
              <a:path w="3090544" h="253365">
                <a:moveTo>
                  <a:pt x="1740636" y="125158"/>
                </a:moveTo>
                <a:lnTo>
                  <a:pt x="1735315" y="86347"/>
                </a:lnTo>
                <a:lnTo>
                  <a:pt x="1706829" y="43764"/>
                </a:lnTo>
                <a:lnTo>
                  <a:pt x="1654098" y="13538"/>
                </a:lnTo>
                <a:lnTo>
                  <a:pt x="1604657" y="3365"/>
                </a:lnTo>
                <a:lnTo>
                  <a:pt x="1585315" y="2298"/>
                </a:lnTo>
                <a:lnTo>
                  <a:pt x="1585315" y="124942"/>
                </a:lnTo>
                <a:lnTo>
                  <a:pt x="1580108" y="158673"/>
                </a:lnTo>
                <a:lnTo>
                  <a:pt x="1564487" y="183870"/>
                </a:lnTo>
                <a:lnTo>
                  <a:pt x="1538516" y="199644"/>
                </a:lnTo>
                <a:lnTo>
                  <a:pt x="1502232" y="205105"/>
                </a:lnTo>
                <a:lnTo>
                  <a:pt x="1458353" y="205105"/>
                </a:lnTo>
                <a:lnTo>
                  <a:pt x="1458353" y="43764"/>
                </a:lnTo>
                <a:lnTo>
                  <a:pt x="1502232" y="43764"/>
                </a:lnTo>
                <a:lnTo>
                  <a:pt x="1538414" y="49377"/>
                </a:lnTo>
                <a:lnTo>
                  <a:pt x="1564398" y="65506"/>
                </a:lnTo>
                <a:lnTo>
                  <a:pt x="1580070" y="91059"/>
                </a:lnTo>
                <a:lnTo>
                  <a:pt x="1585315" y="124942"/>
                </a:lnTo>
                <a:lnTo>
                  <a:pt x="1585315" y="2298"/>
                </a:lnTo>
                <a:lnTo>
                  <a:pt x="1543723" y="0"/>
                </a:lnTo>
                <a:lnTo>
                  <a:pt x="1301597" y="0"/>
                </a:lnTo>
                <a:lnTo>
                  <a:pt x="1301597" y="248894"/>
                </a:lnTo>
                <a:lnTo>
                  <a:pt x="1543723" y="248894"/>
                </a:lnTo>
                <a:lnTo>
                  <a:pt x="1604314" y="245668"/>
                </a:lnTo>
                <a:lnTo>
                  <a:pt x="1653654" y="235839"/>
                </a:lnTo>
                <a:lnTo>
                  <a:pt x="1691855" y="219138"/>
                </a:lnTo>
                <a:lnTo>
                  <a:pt x="1735251" y="164058"/>
                </a:lnTo>
                <a:lnTo>
                  <a:pt x="1740636" y="125158"/>
                </a:lnTo>
                <a:close/>
              </a:path>
              <a:path w="3090544" h="253365">
                <a:moveTo>
                  <a:pt x="2277529" y="248894"/>
                </a:moveTo>
                <a:lnTo>
                  <a:pt x="2206523" y="157530"/>
                </a:lnTo>
                <a:lnTo>
                  <a:pt x="2231339" y="145008"/>
                </a:lnTo>
                <a:lnTo>
                  <a:pt x="2249703" y="127965"/>
                </a:lnTo>
                <a:lnTo>
                  <a:pt x="2261095" y="106921"/>
                </a:lnTo>
                <a:lnTo>
                  <a:pt x="2265019" y="82397"/>
                </a:lnTo>
                <a:lnTo>
                  <a:pt x="2258149" y="50393"/>
                </a:lnTo>
                <a:lnTo>
                  <a:pt x="2252942" y="43802"/>
                </a:lnTo>
                <a:lnTo>
                  <a:pt x="2237448" y="24193"/>
                </a:lnTo>
                <a:lnTo>
                  <a:pt x="2202789" y="6502"/>
                </a:lnTo>
                <a:lnTo>
                  <a:pt x="2154047" y="0"/>
                </a:lnTo>
                <a:lnTo>
                  <a:pt x="1820545" y="0"/>
                </a:lnTo>
                <a:lnTo>
                  <a:pt x="1820545" y="248894"/>
                </a:lnTo>
                <a:lnTo>
                  <a:pt x="1977072" y="248894"/>
                </a:lnTo>
                <a:lnTo>
                  <a:pt x="1977072" y="43802"/>
                </a:lnTo>
                <a:lnTo>
                  <a:pt x="2047989" y="43802"/>
                </a:lnTo>
                <a:lnTo>
                  <a:pt x="2073948" y="47777"/>
                </a:lnTo>
                <a:lnTo>
                  <a:pt x="2091486" y="58178"/>
                </a:lnTo>
                <a:lnTo>
                  <a:pt x="2101392" y="72783"/>
                </a:lnTo>
                <a:lnTo>
                  <a:pt x="2104517" y="89331"/>
                </a:lnTo>
                <a:lnTo>
                  <a:pt x="2098624" y="111201"/>
                </a:lnTo>
                <a:lnTo>
                  <a:pt x="2083714" y="127012"/>
                </a:lnTo>
                <a:lnTo>
                  <a:pt x="2063915" y="136613"/>
                </a:lnTo>
                <a:lnTo>
                  <a:pt x="2043353" y="139852"/>
                </a:lnTo>
                <a:lnTo>
                  <a:pt x="2022157" y="139852"/>
                </a:lnTo>
                <a:lnTo>
                  <a:pt x="2081834" y="248894"/>
                </a:lnTo>
                <a:lnTo>
                  <a:pt x="2277529" y="248894"/>
                </a:lnTo>
                <a:close/>
              </a:path>
              <a:path w="3090544" h="253365">
                <a:moveTo>
                  <a:pt x="2523629" y="12"/>
                </a:moveTo>
                <a:lnTo>
                  <a:pt x="2366886" y="12"/>
                </a:lnTo>
                <a:lnTo>
                  <a:pt x="2366886" y="248894"/>
                </a:lnTo>
                <a:lnTo>
                  <a:pt x="2523629" y="248894"/>
                </a:lnTo>
                <a:lnTo>
                  <a:pt x="2523629" y="12"/>
                </a:lnTo>
                <a:close/>
              </a:path>
              <a:path w="3090544" h="253365">
                <a:moveTo>
                  <a:pt x="3090049" y="248894"/>
                </a:moveTo>
                <a:lnTo>
                  <a:pt x="3066224" y="218249"/>
                </a:lnTo>
                <a:lnTo>
                  <a:pt x="3032163" y="174459"/>
                </a:lnTo>
                <a:lnTo>
                  <a:pt x="2968498" y="92595"/>
                </a:lnTo>
                <a:lnTo>
                  <a:pt x="2896476" y="0"/>
                </a:lnTo>
                <a:lnTo>
                  <a:pt x="2845473" y="0"/>
                </a:lnTo>
                <a:lnTo>
                  <a:pt x="2845473" y="174459"/>
                </a:lnTo>
                <a:lnTo>
                  <a:pt x="2716720" y="174459"/>
                </a:lnTo>
                <a:lnTo>
                  <a:pt x="2782201" y="92595"/>
                </a:lnTo>
                <a:lnTo>
                  <a:pt x="2845473" y="174459"/>
                </a:lnTo>
                <a:lnTo>
                  <a:pt x="2845473" y="0"/>
                </a:lnTo>
                <a:lnTo>
                  <a:pt x="2688132" y="0"/>
                </a:lnTo>
                <a:lnTo>
                  <a:pt x="2728988" y="52743"/>
                </a:lnTo>
                <a:lnTo>
                  <a:pt x="2568397" y="248894"/>
                </a:lnTo>
                <a:lnTo>
                  <a:pt x="2661729" y="248894"/>
                </a:lnTo>
                <a:lnTo>
                  <a:pt x="2686913" y="218249"/>
                </a:lnTo>
                <a:lnTo>
                  <a:pt x="2879267" y="218249"/>
                </a:lnTo>
                <a:lnTo>
                  <a:pt x="2902902" y="248894"/>
                </a:lnTo>
                <a:lnTo>
                  <a:pt x="3090049" y="248894"/>
                </a:lnTo>
                <a:close/>
              </a:path>
            </a:pathLst>
          </a:custGeom>
          <a:solidFill>
            <a:srgbClr val="FFFFFF"/>
          </a:solidFill>
        </p:spPr>
        <p:txBody>
          <a:bodyPr lIns="0" tIns="0" rIns="0" bIns="0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sz="1801">
              <a:latin typeface="+mn-lt"/>
            </a:endParaRPr>
          </a:p>
        </p:txBody>
      </p:sp>
      <p:sp>
        <p:nvSpPr>
          <p:cNvPr id="10245" name="Holder 3">
            <a:extLst>
              <a:ext uri="{FF2B5EF4-FFF2-40B4-BE49-F238E27FC236}">
                <a16:creationId xmlns:a16="http://schemas.microsoft.com/office/drawing/2014/main" id="{20CD8674-E853-B483-6F54-BE97D592D8AF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1004888" y="2601913"/>
            <a:ext cx="18094325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endParaRPr lang="sl-SI" altLang="sl-SI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61" r:id="rId1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>
          <a:solidFill>
            <a:schemeClr val="tx2"/>
          </a:solidFill>
          <a:latin typeface="Calibri" panose="020F0502020204030204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>
          <a:solidFill>
            <a:schemeClr val="tx2"/>
          </a:solidFill>
          <a:latin typeface="Calibri" panose="020F0502020204030204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>
          <a:solidFill>
            <a:schemeClr val="tx2"/>
          </a:solidFill>
          <a:latin typeface="Calibri" panose="020F0502020204030204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>
          <a:solidFill>
            <a:schemeClr val="tx2"/>
          </a:solidFill>
          <a:latin typeface="Calibri" panose="020F0502020204030204" pitchFamily="34" charset="0"/>
        </a:defRPr>
      </a:lvl5pPr>
      <a:lvl6pPr marL="457200" algn="ctr" rtl="0" eaLnBrk="0" fontAlgn="base" hangingPunct="0">
        <a:spcBef>
          <a:spcPct val="0"/>
        </a:spcBef>
        <a:spcAft>
          <a:spcPct val="0"/>
        </a:spcAft>
        <a:defRPr>
          <a:solidFill>
            <a:schemeClr val="tx2"/>
          </a:solidFill>
          <a:latin typeface="Calibri" panose="020F0502020204030204" pitchFamily="34" charset="0"/>
        </a:defRPr>
      </a:lvl6pPr>
      <a:lvl7pPr marL="914400" algn="ctr" rtl="0" eaLnBrk="0" fontAlgn="base" hangingPunct="0">
        <a:spcBef>
          <a:spcPct val="0"/>
        </a:spcBef>
        <a:spcAft>
          <a:spcPct val="0"/>
        </a:spcAft>
        <a:defRPr>
          <a:solidFill>
            <a:schemeClr val="tx2"/>
          </a:solidFill>
          <a:latin typeface="Calibri" panose="020F0502020204030204" pitchFamily="34" charset="0"/>
        </a:defRPr>
      </a:lvl7pPr>
      <a:lvl8pPr marL="1371600" algn="ctr" rtl="0" eaLnBrk="0" fontAlgn="base" hangingPunct="0">
        <a:spcBef>
          <a:spcPct val="0"/>
        </a:spcBef>
        <a:spcAft>
          <a:spcPct val="0"/>
        </a:spcAft>
        <a:defRPr>
          <a:solidFill>
            <a:schemeClr val="tx2"/>
          </a:solidFill>
          <a:latin typeface="Calibri" panose="020F0502020204030204" pitchFamily="34" charset="0"/>
        </a:defRPr>
      </a:lvl8pPr>
      <a:lvl9pPr marL="1828800" algn="ctr" rtl="0" eaLnBrk="0" fontAlgn="base" hangingPunct="0">
        <a:spcBef>
          <a:spcPct val="0"/>
        </a:spcBef>
        <a:spcAft>
          <a:spcPct val="0"/>
        </a:spcAft>
        <a:defRPr>
          <a:solidFill>
            <a:schemeClr val="tx2"/>
          </a:solidFill>
          <a:latin typeface="Calibri" panose="020F0502020204030204" pitchFamily="34" charset="0"/>
        </a:defRPr>
      </a:lvl9pPr>
    </p:titleStyle>
    <p:bodyStyle>
      <a:lvl1pPr algn="l" rtl="0" eaLnBrk="0" fontAlgn="base" hangingPunct="0">
        <a:spcBef>
          <a:spcPct val="20000"/>
        </a:spcBef>
        <a:spcAft>
          <a:spcPct val="0"/>
        </a:spcAft>
        <a:defRPr>
          <a:solidFill>
            <a:schemeClr val="tx1"/>
          </a:solidFill>
          <a:latin typeface="Helvetica" pitchFamily="2" charset="0"/>
          <a:ea typeface="+mn-ea"/>
          <a:cs typeface="+mn-cs"/>
        </a:defRPr>
      </a:lvl1pPr>
      <a:lvl2pPr marL="455613" algn="l" rtl="0" eaLnBrk="0" fontAlgn="base" hangingPunct="0">
        <a:spcBef>
          <a:spcPct val="20000"/>
        </a:spcBef>
        <a:spcAft>
          <a:spcPct val="0"/>
        </a:spcAft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2813" algn="l" rtl="0" eaLnBrk="0" fontAlgn="base" hangingPunct="0">
        <a:spcBef>
          <a:spcPct val="20000"/>
        </a:spcBef>
        <a:spcAft>
          <a:spcPct val="0"/>
        </a:spcAft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0013" algn="l" rtl="0" eaLnBrk="0" fontAlgn="base" hangingPunct="0">
        <a:spcBef>
          <a:spcPct val="20000"/>
        </a:spcBef>
        <a:spcAft>
          <a:spcPct val="0"/>
        </a:spcAft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7213" algn="l" rtl="0" eaLnBrk="0" fontAlgn="base" hangingPunct="0">
        <a:spcBef>
          <a:spcPct val="20000"/>
        </a:spcBef>
        <a:spcAft>
          <a:spcPct val="0"/>
        </a:spcAft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5893">
        <a:defRPr>
          <a:latin typeface="+mn-lt"/>
          <a:ea typeface="+mn-ea"/>
          <a:cs typeface="+mn-cs"/>
        </a:defRPr>
      </a:lvl6pPr>
      <a:lvl7pPr marL="2743072">
        <a:defRPr>
          <a:latin typeface="+mn-lt"/>
          <a:ea typeface="+mn-ea"/>
          <a:cs typeface="+mn-cs"/>
        </a:defRPr>
      </a:lvl7pPr>
      <a:lvl8pPr marL="3200252">
        <a:defRPr>
          <a:latin typeface="+mn-lt"/>
          <a:ea typeface="+mn-ea"/>
          <a:cs typeface="+mn-cs"/>
        </a:defRPr>
      </a:lvl8pPr>
      <a:lvl9pPr marL="3657431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179">
        <a:defRPr>
          <a:latin typeface="+mn-lt"/>
          <a:ea typeface="+mn-ea"/>
          <a:cs typeface="+mn-cs"/>
        </a:defRPr>
      </a:lvl2pPr>
      <a:lvl3pPr marL="914357">
        <a:defRPr>
          <a:latin typeface="+mn-lt"/>
          <a:ea typeface="+mn-ea"/>
          <a:cs typeface="+mn-cs"/>
        </a:defRPr>
      </a:lvl3pPr>
      <a:lvl4pPr marL="1371536">
        <a:defRPr>
          <a:latin typeface="+mn-lt"/>
          <a:ea typeface="+mn-ea"/>
          <a:cs typeface="+mn-cs"/>
        </a:defRPr>
      </a:lvl4pPr>
      <a:lvl5pPr marL="1828715">
        <a:defRPr>
          <a:latin typeface="+mn-lt"/>
          <a:ea typeface="+mn-ea"/>
          <a:cs typeface="+mn-cs"/>
        </a:defRPr>
      </a:lvl5pPr>
      <a:lvl6pPr marL="2285893">
        <a:defRPr>
          <a:latin typeface="+mn-lt"/>
          <a:ea typeface="+mn-ea"/>
          <a:cs typeface="+mn-cs"/>
        </a:defRPr>
      </a:lvl6pPr>
      <a:lvl7pPr marL="2743072">
        <a:defRPr>
          <a:latin typeface="+mn-lt"/>
          <a:ea typeface="+mn-ea"/>
          <a:cs typeface="+mn-cs"/>
        </a:defRPr>
      </a:lvl7pPr>
      <a:lvl8pPr marL="3200252">
        <a:defRPr>
          <a:latin typeface="+mn-lt"/>
          <a:ea typeface="+mn-ea"/>
          <a:cs typeface="+mn-cs"/>
        </a:defRPr>
      </a:lvl8pPr>
      <a:lvl9pPr marL="3657431">
        <a:defRPr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50" name="Predmet 3" hidden="1">
            <a:extLst>
              <a:ext uri="{FF2B5EF4-FFF2-40B4-BE49-F238E27FC236}">
                <a16:creationId xmlns:a16="http://schemas.microsoft.com/office/drawing/2014/main" id="{41B96679-2B79-B824-CC5B-7C72BDE33D8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50998018"/>
              </p:ext>
            </p:extLst>
          </p:nvPr>
        </p:nvGraphicFramePr>
        <p:xfrm>
          <a:off x="1590" y="1588"/>
          <a:ext cx="158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2050" name="Predmet 3" hidden="1">
                        <a:extLst>
                          <a:ext uri="{FF2B5EF4-FFF2-40B4-BE49-F238E27FC236}">
                            <a16:creationId xmlns:a16="http://schemas.microsoft.com/office/drawing/2014/main" id="{41B96679-2B79-B824-CC5B-7C72BDE33D8B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0" y="1588"/>
                        <a:ext cx="1586" cy="158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51" name="bg object 16">
            <a:extLst>
              <a:ext uri="{FF2B5EF4-FFF2-40B4-BE49-F238E27FC236}">
                <a16:creationId xmlns:a16="http://schemas.microsoft.com/office/drawing/2014/main" id="{D8234870-CBC1-516A-C6DE-8976BE4A994C}"/>
              </a:ext>
            </a:extLst>
          </p:cNvPr>
          <p:cNvSpPr>
            <a:spLocks/>
          </p:cNvSpPr>
          <p:nvPr userDrawn="1"/>
        </p:nvSpPr>
        <p:spPr bwMode="auto">
          <a:xfrm>
            <a:off x="0" y="0"/>
            <a:ext cx="20104100" cy="1546225"/>
          </a:xfrm>
          <a:custGeom>
            <a:avLst/>
            <a:gdLst>
              <a:gd name="T0" fmla="*/ 0 w 20104100"/>
              <a:gd name="T1" fmla="*/ 1530592 h 1530985"/>
              <a:gd name="T2" fmla="*/ 20104099 w 20104100"/>
              <a:gd name="T3" fmla="*/ 1530592 h 1530985"/>
              <a:gd name="T4" fmla="*/ 20104099 w 20104100"/>
              <a:gd name="T5" fmla="*/ 0 h 1530985"/>
              <a:gd name="T6" fmla="*/ 0 w 20104100"/>
              <a:gd name="T7" fmla="*/ 0 h 1530985"/>
              <a:gd name="T8" fmla="*/ 0 w 20104100"/>
              <a:gd name="T9" fmla="*/ 1530592 h 15309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0104100" h="1530985">
                <a:moveTo>
                  <a:pt x="0" y="1530592"/>
                </a:moveTo>
                <a:lnTo>
                  <a:pt x="20104099" y="1530592"/>
                </a:lnTo>
                <a:lnTo>
                  <a:pt x="20104099" y="0"/>
                </a:lnTo>
                <a:lnTo>
                  <a:pt x="0" y="0"/>
                </a:lnTo>
                <a:lnTo>
                  <a:pt x="0" y="1530592"/>
                </a:lnTo>
                <a:close/>
              </a:path>
            </a:pathLst>
          </a:custGeom>
          <a:solidFill>
            <a:srgbClr val="6F778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en-AU" sz="1801"/>
          </a:p>
        </p:txBody>
      </p:sp>
      <p:sp>
        <p:nvSpPr>
          <p:cNvPr id="2052" name="object 2">
            <a:extLst>
              <a:ext uri="{FF2B5EF4-FFF2-40B4-BE49-F238E27FC236}">
                <a16:creationId xmlns:a16="http://schemas.microsoft.com/office/drawing/2014/main" id="{9656FA43-3BD6-87C0-AF84-44E88B456FE5}"/>
              </a:ext>
            </a:extLst>
          </p:cNvPr>
          <p:cNvSpPr>
            <a:spLocks/>
          </p:cNvSpPr>
          <p:nvPr userDrawn="1"/>
        </p:nvSpPr>
        <p:spPr bwMode="auto">
          <a:xfrm>
            <a:off x="16451264" y="663574"/>
            <a:ext cx="3090862" cy="254000"/>
          </a:xfrm>
          <a:custGeom>
            <a:avLst/>
            <a:gdLst>
              <a:gd name="T0" fmla="*/ 343852 w 3090544"/>
              <a:gd name="T1" fmla="*/ 175133 h 253365"/>
              <a:gd name="T2" fmla="*/ 293979 w 3090544"/>
              <a:gd name="T3" fmla="*/ 165417 h 253365"/>
              <a:gd name="T4" fmla="*/ 266420 w 3090544"/>
              <a:gd name="T5" fmla="*/ 207365 h 253365"/>
              <a:gd name="T6" fmla="*/ 293979 w 3090544"/>
              <a:gd name="T7" fmla="*/ 249301 h 253365"/>
              <a:gd name="T8" fmla="*/ 343852 w 3090544"/>
              <a:gd name="T9" fmla="*/ 239534 h 253365"/>
              <a:gd name="T10" fmla="*/ 622452 w 3090544"/>
              <a:gd name="T11" fmla="*/ 246989 h 253365"/>
              <a:gd name="T12" fmla="*/ 413931 w 3090544"/>
              <a:gd name="T13" fmla="*/ 7061 h 253365"/>
              <a:gd name="T14" fmla="*/ 75628 w 3090544"/>
              <a:gd name="T15" fmla="*/ 9728 h 253365"/>
              <a:gd name="T16" fmla="*/ 0 w 3090544"/>
              <a:gd name="T17" fmla="*/ 123494 h 253365"/>
              <a:gd name="T18" fmla="*/ 75628 w 3090544"/>
              <a:gd name="T19" fmla="*/ 237286 h 253365"/>
              <a:gd name="T20" fmla="*/ 238823 w 3090544"/>
              <a:gd name="T21" fmla="*/ 203530 h 253365"/>
              <a:gd name="T22" fmla="*/ 164350 w 3090544"/>
              <a:gd name="T23" fmla="*/ 153962 h 253365"/>
              <a:gd name="T24" fmla="*/ 181749 w 3090544"/>
              <a:gd name="T25" fmla="*/ 65608 h 253365"/>
              <a:gd name="T26" fmla="*/ 258483 w 3090544"/>
              <a:gd name="T27" fmla="*/ 44411 h 253365"/>
              <a:gd name="T28" fmla="*/ 303085 w 3090544"/>
              <a:gd name="T29" fmla="*/ 74142 h 253365"/>
              <a:gd name="T30" fmla="*/ 1268044 w 3090544"/>
              <a:gd name="T31" fmla="*/ 248894 h 253365"/>
              <a:gd name="T32" fmla="*/ 1146378 w 3090544"/>
              <a:gd name="T33" fmla="*/ 92595 h 253365"/>
              <a:gd name="T34" fmla="*/ 1023289 w 3090544"/>
              <a:gd name="T35" fmla="*/ 174459 h 253365"/>
              <a:gd name="T36" fmla="*/ 1023289 w 3090544"/>
              <a:gd name="T37" fmla="*/ 174459 h 253365"/>
              <a:gd name="T38" fmla="*/ 906818 w 3090544"/>
              <a:gd name="T39" fmla="*/ 52743 h 253365"/>
              <a:gd name="T40" fmla="*/ 864831 w 3090544"/>
              <a:gd name="T41" fmla="*/ 218249 h 253365"/>
              <a:gd name="T42" fmla="*/ 1268044 w 3090544"/>
              <a:gd name="T43" fmla="*/ 248894 h 253365"/>
              <a:gd name="T44" fmla="*/ 1706829 w 3090544"/>
              <a:gd name="T45" fmla="*/ 43764 h 253365"/>
              <a:gd name="T46" fmla="*/ 1585315 w 3090544"/>
              <a:gd name="T47" fmla="*/ 2298 h 253365"/>
              <a:gd name="T48" fmla="*/ 1564487 w 3090544"/>
              <a:gd name="T49" fmla="*/ 183870 h 253365"/>
              <a:gd name="T50" fmla="*/ 1458353 w 3090544"/>
              <a:gd name="T51" fmla="*/ 205105 h 253365"/>
              <a:gd name="T52" fmla="*/ 1538414 w 3090544"/>
              <a:gd name="T53" fmla="*/ 49377 h 253365"/>
              <a:gd name="T54" fmla="*/ 1585315 w 3090544"/>
              <a:gd name="T55" fmla="*/ 124942 h 253365"/>
              <a:gd name="T56" fmla="*/ 1301597 w 3090544"/>
              <a:gd name="T57" fmla="*/ 0 h 253365"/>
              <a:gd name="T58" fmla="*/ 1604314 w 3090544"/>
              <a:gd name="T59" fmla="*/ 245668 h 253365"/>
              <a:gd name="T60" fmla="*/ 1735251 w 3090544"/>
              <a:gd name="T61" fmla="*/ 164058 h 253365"/>
              <a:gd name="T62" fmla="*/ 2206523 w 3090544"/>
              <a:gd name="T63" fmla="*/ 157530 h 253365"/>
              <a:gd name="T64" fmla="*/ 2261095 w 3090544"/>
              <a:gd name="T65" fmla="*/ 106921 h 253365"/>
              <a:gd name="T66" fmla="*/ 2252942 w 3090544"/>
              <a:gd name="T67" fmla="*/ 43802 h 253365"/>
              <a:gd name="T68" fmla="*/ 2154047 w 3090544"/>
              <a:gd name="T69" fmla="*/ 0 h 253365"/>
              <a:gd name="T70" fmla="*/ 1977072 w 3090544"/>
              <a:gd name="T71" fmla="*/ 248894 h 253365"/>
              <a:gd name="T72" fmla="*/ 2073948 w 3090544"/>
              <a:gd name="T73" fmla="*/ 47777 h 253365"/>
              <a:gd name="T74" fmla="*/ 2104517 w 3090544"/>
              <a:gd name="T75" fmla="*/ 89331 h 253365"/>
              <a:gd name="T76" fmla="*/ 2063915 w 3090544"/>
              <a:gd name="T77" fmla="*/ 136613 h 253365"/>
              <a:gd name="T78" fmla="*/ 2081834 w 3090544"/>
              <a:gd name="T79" fmla="*/ 248894 h 253365"/>
              <a:gd name="T80" fmla="*/ 2366886 w 3090544"/>
              <a:gd name="T81" fmla="*/ 12 h 253365"/>
              <a:gd name="T82" fmla="*/ 2523629 w 3090544"/>
              <a:gd name="T83" fmla="*/ 12 h 253365"/>
              <a:gd name="T84" fmla="*/ 3032163 w 3090544"/>
              <a:gd name="T85" fmla="*/ 174459 h 253365"/>
              <a:gd name="T86" fmla="*/ 2845473 w 3090544"/>
              <a:gd name="T87" fmla="*/ 0 h 253365"/>
              <a:gd name="T88" fmla="*/ 2782201 w 3090544"/>
              <a:gd name="T89" fmla="*/ 92595 h 253365"/>
              <a:gd name="T90" fmla="*/ 2688132 w 3090544"/>
              <a:gd name="T91" fmla="*/ 0 h 253365"/>
              <a:gd name="T92" fmla="*/ 2661729 w 3090544"/>
              <a:gd name="T93" fmla="*/ 248894 h 253365"/>
              <a:gd name="T94" fmla="*/ 2902902 w 3090544"/>
              <a:gd name="T95" fmla="*/ 248894 h 25336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3090544" h="253365">
                <a:moveTo>
                  <a:pt x="357009" y="207365"/>
                </a:moveTo>
                <a:lnTo>
                  <a:pt x="353491" y="189585"/>
                </a:lnTo>
                <a:lnTo>
                  <a:pt x="343852" y="175133"/>
                </a:lnTo>
                <a:lnTo>
                  <a:pt x="329476" y="165417"/>
                </a:lnTo>
                <a:lnTo>
                  <a:pt x="311746" y="161861"/>
                </a:lnTo>
                <a:lnTo>
                  <a:pt x="293979" y="165417"/>
                </a:lnTo>
                <a:lnTo>
                  <a:pt x="279577" y="175133"/>
                </a:lnTo>
                <a:lnTo>
                  <a:pt x="269938" y="189585"/>
                </a:lnTo>
                <a:lnTo>
                  <a:pt x="266420" y="207365"/>
                </a:lnTo>
                <a:lnTo>
                  <a:pt x="269938" y="225056"/>
                </a:lnTo>
                <a:lnTo>
                  <a:pt x="279577" y="239534"/>
                </a:lnTo>
                <a:lnTo>
                  <a:pt x="293979" y="249301"/>
                </a:lnTo>
                <a:lnTo>
                  <a:pt x="311746" y="252895"/>
                </a:lnTo>
                <a:lnTo>
                  <a:pt x="329476" y="249301"/>
                </a:lnTo>
                <a:lnTo>
                  <a:pt x="343852" y="239534"/>
                </a:lnTo>
                <a:lnTo>
                  <a:pt x="353491" y="225056"/>
                </a:lnTo>
                <a:lnTo>
                  <a:pt x="357009" y="207365"/>
                </a:lnTo>
                <a:close/>
              </a:path>
              <a:path w="3090544" h="253365">
                <a:moveTo>
                  <a:pt x="622452" y="246989"/>
                </a:moveTo>
                <a:lnTo>
                  <a:pt x="493928" y="81991"/>
                </a:lnTo>
                <a:lnTo>
                  <a:pt x="469874" y="51904"/>
                </a:lnTo>
                <a:lnTo>
                  <a:pt x="413931" y="7061"/>
                </a:lnTo>
                <a:lnTo>
                  <a:pt x="377621" y="12"/>
                </a:lnTo>
                <a:lnTo>
                  <a:pt x="123710" y="12"/>
                </a:lnTo>
                <a:lnTo>
                  <a:pt x="75628" y="9728"/>
                </a:lnTo>
                <a:lnTo>
                  <a:pt x="36296" y="36195"/>
                </a:lnTo>
                <a:lnTo>
                  <a:pt x="9740" y="75450"/>
                </a:lnTo>
                <a:lnTo>
                  <a:pt x="0" y="123494"/>
                </a:lnTo>
                <a:lnTo>
                  <a:pt x="9740" y="171564"/>
                </a:lnTo>
                <a:lnTo>
                  <a:pt x="36296" y="210820"/>
                </a:lnTo>
                <a:lnTo>
                  <a:pt x="75628" y="237286"/>
                </a:lnTo>
                <a:lnTo>
                  <a:pt x="123710" y="246989"/>
                </a:lnTo>
                <a:lnTo>
                  <a:pt x="238823" y="246989"/>
                </a:lnTo>
                <a:lnTo>
                  <a:pt x="238823" y="203530"/>
                </a:lnTo>
                <a:lnTo>
                  <a:pt x="207429" y="197129"/>
                </a:lnTo>
                <a:lnTo>
                  <a:pt x="181724" y="179705"/>
                </a:lnTo>
                <a:lnTo>
                  <a:pt x="164350" y="153962"/>
                </a:lnTo>
                <a:lnTo>
                  <a:pt x="157975" y="122542"/>
                </a:lnTo>
                <a:lnTo>
                  <a:pt x="164363" y="91198"/>
                </a:lnTo>
                <a:lnTo>
                  <a:pt x="181749" y="65608"/>
                </a:lnTo>
                <a:lnTo>
                  <a:pt x="207530" y="48361"/>
                </a:lnTo>
                <a:lnTo>
                  <a:pt x="239064" y="42037"/>
                </a:lnTo>
                <a:lnTo>
                  <a:pt x="258483" y="44411"/>
                </a:lnTo>
                <a:lnTo>
                  <a:pt x="275844" y="51041"/>
                </a:lnTo>
                <a:lnTo>
                  <a:pt x="290817" y="61201"/>
                </a:lnTo>
                <a:lnTo>
                  <a:pt x="303085" y="74142"/>
                </a:lnTo>
                <a:lnTo>
                  <a:pt x="436664" y="246989"/>
                </a:lnTo>
                <a:lnTo>
                  <a:pt x="622452" y="246989"/>
                </a:lnTo>
                <a:close/>
              </a:path>
              <a:path w="3090544" h="253365">
                <a:moveTo>
                  <a:pt x="1268044" y="248894"/>
                </a:moveTo>
                <a:lnTo>
                  <a:pt x="1244193" y="218249"/>
                </a:lnTo>
                <a:lnTo>
                  <a:pt x="1210106" y="174459"/>
                </a:lnTo>
                <a:lnTo>
                  <a:pt x="1146378" y="92595"/>
                </a:lnTo>
                <a:lnTo>
                  <a:pt x="1074293" y="0"/>
                </a:lnTo>
                <a:lnTo>
                  <a:pt x="1023289" y="0"/>
                </a:lnTo>
                <a:lnTo>
                  <a:pt x="1023289" y="174459"/>
                </a:lnTo>
                <a:lnTo>
                  <a:pt x="894892" y="174459"/>
                </a:lnTo>
                <a:lnTo>
                  <a:pt x="960107" y="92595"/>
                </a:lnTo>
                <a:lnTo>
                  <a:pt x="1023289" y="174459"/>
                </a:lnTo>
                <a:lnTo>
                  <a:pt x="1023289" y="0"/>
                </a:lnTo>
                <a:lnTo>
                  <a:pt x="866051" y="0"/>
                </a:lnTo>
                <a:lnTo>
                  <a:pt x="906818" y="52743"/>
                </a:lnTo>
                <a:lnTo>
                  <a:pt x="746315" y="248894"/>
                </a:lnTo>
                <a:lnTo>
                  <a:pt x="839660" y="248894"/>
                </a:lnTo>
                <a:lnTo>
                  <a:pt x="864831" y="218249"/>
                </a:lnTo>
                <a:lnTo>
                  <a:pt x="1057160" y="218249"/>
                </a:lnTo>
                <a:lnTo>
                  <a:pt x="1080795" y="248894"/>
                </a:lnTo>
                <a:lnTo>
                  <a:pt x="1268044" y="248894"/>
                </a:lnTo>
                <a:close/>
              </a:path>
              <a:path w="3090544" h="253365">
                <a:moveTo>
                  <a:pt x="1740636" y="125158"/>
                </a:moveTo>
                <a:lnTo>
                  <a:pt x="1735315" y="86347"/>
                </a:lnTo>
                <a:lnTo>
                  <a:pt x="1706829" y="43764"/>
                </a:lnTo>
                <a:lnTo>
                  <a:pt x="1654098" y="13538"/>
                </a:lnTo>
                <a:lnTo>
                  <a:pt x="1604657" y="3365"/>
                </a:lnTo>
                <a:lnTo>
                  <a:pt x="1585315" y="2298"/>
                </a:lnTo>
                <a:lnTo>
                  <a:pt x="1585315" y="124942"/>
                </a:lnTo>
                <a:lnTo>
                  <a:pt x="1580108" y="158673"/>
                </a:lnTo>
                <a:lnTo>
                  <a:pt x="1564487" y="183870"/>
                </a:lnTo>
                <a:lnTo>
                  <a:pt x="1538516" y="199644"/>
                </a:lnTo>
                <a:lnTo>
                  <a:pt x="1502232" y="205105"/>
                </a:lnTo>
                <a:lnTo>
                  <a:pt x="1458353" y="205105"/>
                </a:lnTo>
                <a:lnTo>
                  <a:pt x="1458353" y="43764"/>
                </a:lnTo>
                <a:lnTo>
                  <a:pt x="1502232" y="43764"/>
                </a:lnTo>
                <a:lnTo>
                  <a:pt x="1538414" y="49377"/>
                </a:lnTo>
                <a:lnTo>
                  <a:pt x="1564398" y="65506"/>
                </a:lnTo>
                <a:lnTo>
                  <a:pt x="1580070" y="91059"/>
                </a:lnTo>
                <a:lnTo>
                  <a:pt x="1585315" y="124942"/>
                </a:lnTo>
                <a:lnTo>
                  <a:pt x="1585315" y="2298"/>
                </a:lnTo>
                <a:lnTo>
                  <a:pt x="1543723" y="0"/>
                </a:lnTo>
                <a:lnTo>
                  <a:pt x="1301597" y="0"/>
                </a:lnTo>
                <a:lnTo>
                  <a:pt x="1301597" y="248894"/>
                </a:lnTo>
                <a:lnTo>
                  <a:pt x="1543723" y="248894"/>
                </a:lnTo>
                <a:lnTo>
                  <a:pt x="1604314" y="245668"/>
                </a:lnTo>
                <a:lnTo>
                  <a:pt x="1653654" y="235839"/>
                </a:lnTo>
                <a:lnTo>
                  <a:pt x="1691855" y="219138"/>
                </a:lnTo>
                <a:lnTo>
                  <a:pt x="1735251" y="164058"/>
                </a:lnTo>
                <a:lnTo>
                  <a:pt x="1740636" y="125158"/>
                </a:lnTo>
                <a:close/>
              </a:path>
              <a:path w="3090544" h="253365">
                <a:moveTo>
                  <a:pt x="2277529" y="248894"/>
                </a:moveTo>
                <a:lnTo>
                  <a:pt x="2206523" y="157530"/>
                </a:lnTo>
                <a:lnTo>
                  <a:pt x="2231339" y="145008"/>
                </a:lnTo>
                <a:lnTo>
                  <a:pt x="2249703" y="127965"/>
                </a:lnTo>
                <a:lnTo>
                  <a:pt x="2261095" y="106921"/>
                </a:lnTo>
                <a:lnTo>
                  <a:pt x="2265019" y="82397"/>
                </a:lnTo>
                <a:lnTo>
                  <a:pt x="2258149" y="50393"/>
                </a:lnTo>
                <a:lnTo>
                  <a:pt x="2252942" y="43802"/>
                </a:lnTo>
                <a:lnTo>
                  <a:pt x="2237448" y="24193"/>
                </a:lnTo>
                <a:lnTo>
                  <a:pt x="2202789" y="6502"/>
                </a:lnTo>
                <a:lnTo>
                  <a:pt x="2154047" y="0"/>
                </a:lnTo>
                <a:lnTo>
                  <a:pt x="1820545" y="0"/>
                </a:lnTo>
                <a:lnTo>
                  <a:pt x="1820545" y="248894"/>
                </a:lnTo>
                <a:lnTo>
                  <a:pt x="1977072" y="248894"/>
                </a:lnTo>
                <a:lnTo>
                  <a:pt x="1977072" y="43802"/>
                </a:lnTo>
                <a:lnTo>
                  <a:pt x="2047989" y="43802"/>
                </a:lnTo>
                <a:lnTo>
                  <a:pt x="2073948" y="47777"/>
                </a:lnTo>
                <a:lnTo>
                  <a:pt x="2091486" y="58178"/>
                </a:lnTo>
                <a:lnTo>
                  <a:pt x="2101392" y="72783"/>
                </a:lnTo>
                <a:lnTo>
                  <a:pt x="2104517" y="89331"/>
                </a:lnTo>
                <a:lnTo>
                  <a:pt x="2098624" y="111201"/>
                </a:lnTo>
                <a:lnTo>
                  <a:pt x="2083714" y="127012"/>
                </a:lnTo>
                <a:lnTo>
                  <a:pt x="2063915" y="136613"/>
                </a:lnTo>
                <a:lnTo>
                  <a:pt x="2043353" y="139852"/>
                </a:lnTo>
                <a:lnTo>
                  <a:pt x="2022157" y="139852"/>
                </a:lnTo>
                <a:lnTo>
                  <a:pt x="2081834" y="248894"/>
                </a:lnTo>
                <a:lnTo>
                  <a:pt x="2277529" y="248894"/>
                </a:lnTo>
                <a:close/>
              </a:path>
              <a:path w="3090544" h="253365">
                <a:moveTo>
                  <a:pt x="2523629" y="12"/>
                </a:moveTo>
                <a:lnTo>
                  <a:pt x="2366886" y="12"/>
                </a:lnTo>
                <a:lnTo>
                  <a:pt x="2366886" y="248894"/>
                </a:lnTo>
                <a:lnTo>
                  <a:pt x="2523629" y="248894"/>
                </a:lnTo>
                <a:lnTo>
                  <a:pt x="2523629" y="12"/>
                </a:lnTo>
                <a:close/>
              </a:path>
              <a:path w="3090544" h="253365">
                <a:moveTo>
                  <a:pt x="3090049" y="248894"/>
                </a:moveTo>
                <a:lnTo>
                  <a:pt x="3066224" y="218249"/>
                </a:lnTo>
                <a:lnTo>
                  <a:pt x="3032163" y="174459"/>
                </a:lnTo>
                <a:lnTo>
                  <a:pt x="2968498" y="92595"/>
                </a:lnTo>
                <a:lnTo>
                  <a:pt x="2896476" y="0"/>
                </a:lnTo>
                <a:lnTo>
                  <a:pt x="2845473" y="0"/>
                </a:lnTo>
                <a:lnTo>
                  <a:pt x="2845473" y="174459"/>
                </a:lnTo>
                <a:lnTo>
                  <a:pt x="2716720" y="174459"/>
                </a:lnTo>
                <a:lnTo>
                  <a:pt x="2782201" y="92595"/>
                </a:lnTo>
                <a:lnTo>
                  <a:pt x="2845473" y="174459"/>
                </a:lnTo>
                <a:lnTo>
                  <a:pt x="2845473" y="0"/>
                </a:lnTo>
                <a:lnTo>
                  <a:pt x="2688132" y="0"/>
                </a:lnTo>
                <a:lnTo>
                  <a:pt x="2728988" y="52743"/>
                </a:lnTo>
                <a:lnTo>
                  <a:pt x="2568397" y="248894"/>
                </a:lnTo>
                <a:lnTo>
                  <a:pt x="2661729" y="248894"/>
                </a:lnTo>
                <a:lnTo>
                  <a:pt x="2686913" y="218249"/>
                </a:lnTo>
                <a:lnTo>
                  <a:pt x="2879267" y="218249"/>
                </a:lnTo>
                <a:lnTo>
                  <a:pt x="2902902" y="248894"/>
                </a:lnTo>
                <a:lnTo>
                  <a:pt x="3090049" y="248894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en-AU" sz="1801"/>
          </a:p>
        </p:txBody>
      </p:sp>
      <p:sp>
        <p:nvSpPr>
          <p:cNvPr id="2053" name="Holder 3">
            <a:extLst>
              <a:ext uri="{FF2B5EF4-FFF2-40B4-BE49-F238E27FC236}">
                <a16:creationId xmlns:a16="http://schemas.microsoft.com/office/drawing/2014/main" id="{EF2C00F0-2781-1E6B-DA8B-8F39EAAEE4AC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1004889" y="2601915"/>
            <a:ext cx="18094325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endParaRPr lang="sl-SI" altLang="sl-SI"/>
          </a:p>
        </p:txBody>
      </p:sp>
    </p:spTree>
    <p:extLst>
      <p:ext uri="{BB962C8B-B14F-4D97-AF65-F5344CB8AC3E}">
        <p14:creationId xmlns:p14="http://schemas.microsoft.com/office/powerpoint/2010/main" val="35066518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7" r:id="rId1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>
          <a:solidFill>
            <a:schemeClr val="tx2"/>
          </a:solidFill>
          <a:latin typeface="Calibri" panose="020F0502020204030204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>
          <a:solidFill>
            <a:schemeClr val="tx2"/>
          </a:solidFill>
          <a:latin typeface="Calibri" panose="020F0502020204030204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>
          <a:solidFill>
            <a:schemeClr val="tx2"/>
          </a:solidFill>
          <a:latin typeface="Calibri" panose="020F0502020204030204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>
          <a:solidFill>
            <a:schemeClr val="tx2"/>
          </a:solidFill>
          <a:latin typeface="Calibri" panose="020F0502020204030204" pitchFamily="34" charset="0"/>
        </a:defRPr>
      </a:lvl5pPr>
      <a:lvl6pPr marL="457179" algn="ctr" rtl="0" eaLnBrk="0" fontAlgn="base" hangingPunct="0">
        <a:spcBef>
          <a:spcPct val="0"/>
        </a:spcBef>
        <a:spcAft>
          <a:spcPct val="0"/>
        </a:spcAft>
        <a:defRPr>
          <a:solidFill>
            <a:schemeClr val="tx2"/>
          </a:solidFill>
          <a:latin typeface="Calibri" panose="020F0502020204030204" pitchFamily="34" charset="0"/>
        </a:defRPr>
      </a:lvl6pPr>
      <a:lvl7pPr marL="914357" algn="ctr" rtl="0" eaLnBrk="0" fontAlgn="base" hangingPunct="0">
        <a:spcBef>
          <a:spcPct val="0"/>
        </a:spcBef>
        <a:spcAft>
          <a:spcPct val="0"/>
        </a:spcAft>
        <a:defRPr>
          <a:solidFill>
            <a:schemeClr val="tx2"/>
          </a:solidFill>
          <a:latin typeface="Calibri" panose="020F0502020204030204" pitchFamily="34" charset="0"/>
        </a:defRPr>
      </a:lvl7pPr>
      <a:lvl8pPr marL="1371536" algn="ctr" rtl="0" eaLnBrk="0" fontAlgn="base" hangingPunct="0">
        <a:spcBef>
          <a:spcPct val="0"/>
        </a:spcBef>
        <a:spcAft>
          <a:spcPct val="0"/>
        </a:spcAft>
        <a:defRPr>
          <a:solidFill>
            <a:schemeClr val="tx2"/>
          </a:solidFill>
          <a:latin typeface="Calibri" panose="020F0502020204030204" pitchFamily="34" charset="0"/>
        </a:defRPr>
      </a:lvl8pPr>
      <a:lvl9pPr marL="1828715" algn="ctr" rtl="0" eaLnBrk="0" fontAlgn="base" hangingPunct="0">
        <a:spcBef>
          <a:spcPct val="0"/>
        </a:spcBef>
        <a:spcAft>
          <a:spcPct val="0"/>
        </a:spcAft>
        <a:defRPr>
          <a:solidFill>
            <a:schemeClr val="tx2"/>
          </a:solidFill>
          <a:latin typeface="Calibri" panose="020F0502020204030204" pitchFamily="34" charset="0"/>
        </a:defRPr>
      </a:lvl9pPr>
    </p:titleStyle>
    <p:bodyStyle>
      <a:lvl1pPr algn="l" rtl="0" eaLnBrk="0" fontAlgn="base" hangingPunct="0">
        <a:spcBef>
          <a:spcPct val="20000"/>
        </a:spcBef>
        <a:spcAft>
          <a:spcPct val="0"/>
        </a:spcAft>
        <a:defRPr>
          <a:solidFill>
            <a:schemeClr val="tx1"/>
          </a:solidFill>
          <a:latin typeface="Helvetica" pitchFamily="2" charset="0"/>
          <a:ea typeface="+mn-ea"/>
          <a:cs typeface="+mn-cs"/>
        </a:defRPr>
      </a:lvl1pPr>
      <a:lvl2pPr marL="457179" algn="l" rtl="0" eaLnBrk="0" fontAlgn="base" hangingPunct="0">
        <a:spcBef>
          <a:spcPct val="20000"/>
        </a:spcBef>
        <a:spcAft>
          <a:spcPct val="0"/>
        </a:spcAft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357" algn="l" rtl="0" eaLnBrk="0" fontAlgn="base" hangingPunct="0">
        <a:spcBef>
          <a:spcPct val="20000"/>
        </a:spcBef>
        <a:spcAft>
          <a:spcPct val="0"/>
        </a:spcAft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536" algn="l" rtl="0" eaLnBrk="0" fontAlgn="base" hangingPunct="0">
        <a:spcBef>
          <a:spcPct val="20000"/>
        </a:spcBef>
        <a:spcAft>
          <a:spcPct val="0"/>
        </a:spcAft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715" algn="l" rtl="0" eaLnBrk="0" fontAlgn="base" hangingPunct="0">
        <a:spcBef>
          <a:spcPct val="20000"/>
        </a:spcBef>
        <a:spcAft>
          <a:spcPct val="0"/>
        </a:spcAft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5893">
        <a:defRPr>
          <a:latin typeface="+mn-lt"/>
          <a:ea typeface="+mn-ea"/>
          <a:cs typeface="+mn-cs"/>
        </a:defRPr>
      </a:lvl6pPr>
      <a:lvl7pPr marL="2743072">
        <a:defRPr>
          <a:latin typeface="+mn-lt"/>
          <a:ea typeface="+mn-ea"/>
          <a:cs typeface="+mn-cs"/>
        </a:defRPr>
      </a:lvl7pPr>
      <a:lvl8pPr marL="3200252">
        <a:defRPr>
          <a:latin typeface="+mn-lt"/>
          <a:ea typeface="+mn-ea"/>
          <a:cs typeface="+mn-cs"/>
        </a:defRPr>
      </a:lvl8pPr>
      <a:lvl9pPr marL="3657431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179">
        <a:defRPr>
          <a:latin typeface="+mn-lt"/>
          <a:ea typeface="+mn-ea"/>
          <a:cs typeface="+mn-cs"/>
        </a:defRPr>
      </a:lvl2pPr>
      <a:lvl3pPr marL="914357">
        <a:defRPr>
          <a:latin typeface="+mn-lt"/>
          <a:ea typeface="+mn-ea"/>
          <a:cs typeface="+mn-cs"/>
        </a:defRPr>
      </a:lvl3pPr>
      <a:lvl4pPr marL="1371536">
        <a:defRPr>
          <a:latin typeface="+mn-lt"/>
          <a:ea typeface="+mn-ea"/>
          <a:cs typeface="+mn-cs"/>
        </a:defRPr>
      </a:lvl4pPr>
      <a:lvl5pPr marL="1828715">
        <a:defRPr>
          <a:latin typeface="+mn-lt"/>
          <a:ea typeface="+mn-ea"/>
          <a:cs typeface="+mn-cs"/>
        </a:defRPr>
      </a:lvl5pPr>
      <a:lvl6pPr marL="2285893">
        <a:defRPr>
          <a:latin typeface="+mn-lt"/>
          <a:ea typeface="+mn-ea"/>
          <a:cs typeface="+mn-cs"/>
        </a:defRPr>
      </a:lvl6pPr>
      <a:lvl7pPr marL="2743072">
        <a:defRPr>
          <a:latin typeface="+mn-lt"/>
          <a:ea typeface="+mn-ea"/>
          <a:cs typeface="+mn-cs"/>
        </a:defRPr>
      </a:lvl7pPr>
      <a:lvl8pPr marL="3200252">
        <a:defRPr>
          <a:latin typeface="+mn-lt"/>
          <a:ea typeface="+mn-ea"/>
          <a:cs typeface="+mn-cs"/>
        </a:defRPr>
      </a:lvl8pPr>
      <a:lvl9pPr marL="3657431">
        <a:defRPr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50" name="Predmet 3" hidden="1">
            <a:extLst>
              <a:ext uri="{FF2B5EF4-FFF2-40B4-BE49-F238E27FC236}">
                <a16:creationId xmlns:a16="http://schemas.microsoft.com/office/drawing/2014/main" id="{41B96679-2B79-B824-CC5B-7C72BDE33D8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2050" name="Predmet 3" hidden="1">
                        <a:extLst>
                          <a:ext uri="{FF2B5EF4-FFF2-40B4-BE49-F238E27FC236}">
                            <a16:creationId xmlns:a16="http://schemas.microsoft.com/office/drawing/2014/main" id="{41B96679-2B79-B824-CC5B-7C72BDE33D8B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51" name="bg object 16">
            <a:extLst>
              <a:ext uri="{FF2B5EF4-FFF2-40B4-BE49-F238E27FC236}">
                <a16:creationId xmlns:a16="http://schemas.microsoft.com/office/drawing/2014/main" id="{D8234870-CBC1-516A-C6DE-8976BE4A994C}"/>
              </a:ext>
            </a:extLst>
          </p:cNvPr>
          <p:cNvSpPr>
            <a:spLocks/>
          </p:cNvSpPr>
          <p:nvPr userDrawn="1"/>
        </p:nvSpPr>
        <p:spPr bwMode="auto">
          <a:xfrm>
            <a:off x="0" y="0"/>
            <a:ext cx="20104100" cy="1546225"/>
          </a:xfrm>
          <a:custGeom>
            <a:avLst/>
            <a:gdLst>
              <a:gd name="T0" fmla="*/ 0 w 20104100"/>
              <a:gd name="T1" fmla="*/ 1530592 h 1530985"/>
              <a:gd name="T2" fmla="*/ 20104099 w 20104100"/>
              <a:gd name="T3" fmla="*/ 1530592 h 1530985"/>
              <a:gd name="T4" fmla="*/ 20104099 w 20104100"/>
              <a:gd name="T5" fmla="*/ 0 h 1530985"/>
              <a:gd name="T6" fmla="*/ 0 w 20104100"/>
              <a:gd name="T7" fmla="*/ 0 h 1530985"/>
              <a:gd name="T8" fmla="*/ 0 w 20104100"/>
              <a:gd name="T9" fmla="*/ 1530592 h 15309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0104100" h="1530985">
                <a:moveTo>
                  <a:pt x="0" y="1530592"/>
                </a:moveTo>
                <a:lnTo>
                  <a:pt x="20104099" y="1530592"/>
                </a:lnTo>
                <a:lnTo>
                  <a:pt x="20104099" y="0"/>
                </a:lnTo>
                <a:lnTo>
                  <a:pt x="0" y="0"/>
                </a:lnTo>
                <a:lnTo>
                  <a:pt x="0" y="1530592"/>
                </a:lnTo>
                <a:close/>
              </a:path>
            </a:pathLst>
          </a:custGeom>
          <a:solidFill>
            <a:srgbClr val="6F778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en-AU"/>
          </a:p>
        </p:txBody>
      </p:sp>
      <p:sp>
        <p:nvSpPr>
          <p:cNvPr id="2052" name="object 2">
            <a:extLst>
              <a:ext uri="{FF2B5EF4-FFF2-40B4-BE49-F238E27FC236}">
                <a16:creationId xmlns:a16="http://schemas.microsoft.com/office/drawing/2014/main" id="{9656FA43-3BD6-87C0-AF84-44E88B456FE5}"/>
              </a:ext>
            </a:extLst>
          </p:cNvPr>
          <p:cNvSpPr>
            <a:spLocks/>
          </p:cNvSpPr>
          <p:nvPr userDrawn="1"/>
        </p:nvSpPr>
        <p:spPr bwMode="auto">
          <a:xfrm>
            <a:off x="16451263" y="663575"/>
            <a:ext cx="3090862" cy="254000"/>
          </a:xfrm>
          <a:custGeom>
            <a:avLst/>
            <a:gdLst>
              <a:gd name="T0" fmla="*/ 343852 w 3090544"/>
              <a:gd name="T1" fmla="*/ 175133 h 253365"/>
              <a:gd name="T2" fmla="*/ 293979 w 3090544"/>
              <a:gd name="T3" fmla="*/ 165417 h 253365"/>
              <a:gd name="T4" fmla="*/ 266420 w 3090544"/>
              <a:gd name="T5" fmla="*/ 207365 h 253365"/>
              <a:gd name="T6" fmla="*/ 293979 w 3090544"/>
              <a:gd name="T7" fmla="*/ 249301 h 253365"/>
              <a:gd name="T8" fmla="*/ 343852 w 3090544"/>
              <a:gd name="T9" fmla="*/ 239534 h 253365"/>
              <a:gd name="T10" fmla="*/ 622452 w 3090544"/>
              <a:gd name="T11" fmla="*/ 246989 h 253365"/>
              <a:gd name="T12" fmla="*/ 413931 w 3090544"/>
              <a:gd name="T13" fmla="*/ 7061 h 253365"/>
              <a:gd name="T14" fmla="*/ 75628 w 3090544"/>
              <a:gd name="T15" fmla="*/ 9728 h 253365"/>
              <a:gd name="T16" fmla="*/ 0 w 3090544"/>
              <a:gd name="T17" fmla="*/ 123494 h 253365"/>
              <a:gd name="T18" fmla="*/ 75628 w 3090544"/>
              <a:gd name="T19" fmla="*/ 237286 h 253365"/>
              <a:gd name="T20" fmla="*/ 238823 w 3090544"/>
              <a:gd name="T21" fmla="*/ 203530 h 253365"/>
              <a:gd name="T22" fmla="*/ 164350 w 3090544"/>
              <a:gd name="T23" fmla="*/ 153962 h 253365"/>
              <a:gd name="T24" fmla="*/ 181749 w 3090544"/>
              <a:gd name="T25" fmla="*/ 65608 h 253365"/>
              <a:gd name="T26" fmla="*/ 258483 w 3090544"/>
              <a:gd name="T27" fmla="*/ 44411 h 253365"/>
              <a:gd name="T28" fmla="*/ 303085 w 3090544"/>
              <a:gd name="T29" fmla="*/ 74142 h 253365"/>
              <a:gd name="T30" fmla="*/ 1268044 w 3090544"/>
              <a:gd name="T31" fmla="*/ 248894 h 253365"/>
              <a:gd name="T32" fmla="*/ 1146378 w 3090544"/>
              <a:gd name="T33" fmla="*/ 92595 h 253365"/>
              <a:gd name="T34" fmla="*/ 1023289 w 3090544"/>
              <a:gd name="T35" fmla="*/ 174459 h 253365"/>
              <a:gd name="T36" fmla="*/ 1023289 w 3090544"/>
              <a:gd name="T37" fmla="*/ 174459 h 253365"/>
              <a:gd name="T38" fmla="*/ 906818 w 3090544"/>
              <a:gd name="T39" fmla="*/ 52743 h 253365"/>
              <a:gd name="T40" fmla="*/ 864831 w 3090544"/>
              <a:gd name="T41" fmla="*/ 218249 h 253365"/>
              <a:gd name="T42" fmla="*/ 1268044 w 3090544"/>
              <a:gd name="T43" fmla="*/ 248894 h 253365"/>
              <a:gd name="T44" fmla="*/ 1706829 w 3090544"/>
              <a:gd name="T45" fmla="*/ 43764 h 253365"/>
              <a:gd name="T46" fmla="*/ 1585315 w 3090544"/>
              <a:gd name="T47" fmla="*/ 2298 h 253365"/>
              <a:gd name="T48" fmla="*/ 1564487 w 3090544"/>
              <a:gd name="T49" fmla="*/ 183870 h 253365"/>
              <a:gd name="T50" fmla="*/ 1458353 w 3090544"/>
              <a:gd name="T51" fmla="*/ 205105 h 253365"/>
              <a:gd name="T52" fmla="*/ 1538414 w 3090544"/>
              <a:gd name="T53" fmla="*/ 49377 h 253365"/>
              <a:gd name="T54" fmla="*/ 1585315 w 3090544"/>
              <a:gd name="T55" fmla="*/ 124942 h 253365"/>
              <a:gd name="T56" fmla="*/ 1301597 w 3090544"/>
              <a:gd name="T57" fmla="*/ 0 h 253365"/>
              <a:gd name="T58" fmla="*/ 1604314 w 3090544"/>
              <a:gd name="T59" fmla="*/ 245668 h 253365"/>
              <a:gd name="T60" fmla="*/ 1735251 w 3090544"/>
              <a:gd name="T61" fmla="*/ 164058 h 253365"/>
              <a:gd name="T62" fmla="*/ 2206523 w 3090544"/>
              <a:gd name="T63" fmla="*/ 157530 h 253365"/>
              <a:gd name="T64" fmla="*/ 2261095 w 3090544"/>
              <a:gd name="T65" fmla="*/ 106921 h 253365"/>
              <a:gd name="T66" fmla="*/ 2252942 w 3090544"/>
              <a:gd name="T67" fmla="*/ 43802 h 253365"/>
              <a:gd name="T68" fmla="*/ 2154047 w 3090544"/>
              <a:gd name="T69" fmla="*/ 0 h 253365"/>
              <a:gd name="T70" fmla="*/ 1977072 w 3090544"/>
              <a:gd name="T71" fmla="*/ 248894 h 253365"/>
              <a:gd name="T72" fmla="*/ 2073948 w 3090544"/>
              <a:gd name="T73" fmla="*/ 47777 h 253365"/>
              <a:gd name="T74" fmla="*/ 2104517 w 3090544"/>
              <a:gd name="T75" fmla="*/ 89331 h 253365"/>
              <a:gd name="T76" fmla="*/ 2063915 w 3090544"/>
              <a:gd name="T77" fmla="*/ 136613 h 253365"/>
              <a:gd name="T78" fmla="*/ 2081834 w 3090544"/>
              <a:gd name="T79" fmla="*/ 248894 h 253365"/>
              <a:gd name="T80" fmla="*/ 2366886 w 3090544"/>
              <a:gd name="T81" fmla="*/ 12 h 253365"/>
              <a:gd name="T82" fmla="*/ 2523629 w 3090544"/>
              <a:gd name="T83" fmla="*/ 12 h 253365"/>
              <a:gd name="T84" fmla="*/ 3032163 w 3090544"/>
              <a:gd name="T85" fmla="*/ 174459 h 253365"/>
              <a:gd name="T86" fmla="*/ 2845473 w 3090544"/>
              <a:gd name="T87" fmla="*/ 0 h 253365"/>
              <a:gd name="T88" fmla="*/ 2782201 w 3090544"/>
              <a:gd name="T89" fmla="*/ 92595 h 253365"/>
              <a:gd name="T90" fmla="*/ 2688132 w 3090544"/>
              <a:gd name="T91" fmla="*/ 0 h 253365"/>
              <a:gd name="T92" fmla="*/ 2661729 w 3090544"/>
              <a:gd name="T93" fmla="*/ 248894 h 253365"/>
              <a:gd name="T94" fmla="*/ 2902902 w 3090544"/>
              <a:gd name="T95" fmla="*/ 248894 h 25336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3090544" h="253365">
                <a:moveTo>
                  <a:pt x="357009" y="207365"/>
                </a:moveTo>
                <a:lnTo>
                  <a:pt x="353491" y="189585"/>
                </a:lnTo>
                <a:lnTo>
                  <a:pt x="343852" y="175133"/>
                </a:lnTo>
                <a:lnTo>
                  <a:pt x="329476" y="165417"/>
                </a:lnTo>
                <a:lnTo>
                  <a:pt x="311746" y="161861"/>
                </a:lnTo>
                <a:lnTo>
                  <a:pt x="293979" y="165417"/>
                </a:lnTo>
                <a:lnTo>
                  <a:pt x="279577" y="175133"/>
                </a:lnTo>
                <a:lnTo>
                  <a:pt x="269938" y="189585"/>
                </a:lnTo>
                <a:lnTo>
                  <a:pt x="266420" y="207365"/>
                </a:lnTo>
                <a:lnTo>
                  <a:pt x="269938" y="225056"/>
                </a:lnTo>
                <a:lnTo>
                  <a:pt x="279577" y="239534"/>
                </a:lnTo>
                <a:lnTo>
                  <a:pt x="293979" y="249301"/>
                </a:lnTo>
                <a:lnTo>
                  <a:pt x="311746" y="252895"/>
                </a:lnTo>
                <a:lnTo>
                  <a:pt x="329476" y="249301"/>
                </a:lnTo>
                <a:lnTo>
                  <a:pt x="343852" y="239534"/>
                </a:lnTo>
                <a:lnTo>
                  <a:pt x="353491" y="225056"/>
                </a:lnTo>
                <a:lnTo>
                  <a:pt x="357009" y="207365"/>
                </a:lnTo>
                <a:close/>
              </a:path>
              <a:path w="3090544" h="253365">
                <a:moveTo>
                  <a:pt x="622452" y="246989"/>
                </a:moveTo>
                <a:lnTo>
                  <a:pt x="493928" y="81991"/>
                </a:lnTo>
                <a:lnTo>
                  <a:pt x="469874" y="51904"/>
                </a:lnTo>
                <a:lnTo>
                  <a:pt x="413931" y="7061"/>
                </a:lnTo>
                <a:lnTo>
                  <a:pt x="377621" y="12"/>
                </a:lnTo>
                <a:lnTo>
                  <a:pt x="123710" y="12"/>
                </a:lnTo>
                <a:lnTo>
                  <a:pt x="75628" y="9728"/>
                </a:lnTo>
                <a:lnTo>
                  <a:pt x="36296" y="36195"/>
                </a:lnTo>
                <a:lnTo>
                  <a:pt x="9740" y="75450"/>
                </a:lnTo>
                <a:lnTo>
                  <a:pt x="0" y="123494"/>
                </a:lnTo>
                <a:lnTo>
                  <a:pt x="9740" y="171564"/>
                </a:lnTo>
                <a:lnTo>
                  <a:pt x="36296" y="210820"/>
                </a:lnTo>
                <a:lnTo>
                  <a:pt x="75628" y="237286"/>
                </a:lnTo>
                <a:lnTo>
                  <a:pt x="123710" y="246989"/>
                </a:lnTo>
                <a:lnTo>
                  <a:pt x="238823" y="246989"/>
                </a:lnTo>
                <a:lnTo>
                  <a:pt x="238823" y="203530"/>
                </a:lnTo>
                <a:lnTo>
                  <a:pt x="207429" y="197129"/>
                </a:lnTo>
                <a:lnTo>
                  <a:pt x="181724" y="179705"/>
                </a:lnTo>
                <a:lnTo>
                  <a:pt x="164350" y="153962"/>
                </a:lnTo>
                <a:lnTo>
                  <a:pt x="157975" y="122542"/>
                </a:lnTo>
                <a:lnTo>
                  <a:pt x="164363" y="91198"/>
                </a:lnTo>
                <a:lnTo>
                  <a:pt x="181749" y="65608"/>
                </a:lnTo>
                <a:lnTo>
                  <a:pt x="207530" y="48361"/>
                </a:lnTo>
                <a:lnTo>
                  <a:pt x="239064" y="42037"/>
                </a:lnTo>
                <a:lnTo>
                  <a:pt x="258483" y="44411"/>
                </a:lnTo>
                <a:lnTo>
                  <a:pt x="275844" y="51041"/>
                </a:lnTo>
                <a:lnTo>
                  <a:pt x="290817" y="61201"/>
                </a:lnTo>
                <a:lnTo>
                  <a:pt x="303085" y="74142"/>
                </a:lnTo>
                <a:lnTo>
                  <a:pt x="436664" y="246989"/>
                </a:lnTo>
                <a:lnTo>
                  <a:pt x="622452" y="246989"/>
                </a:lnTo>
                <a:close/>
              </a:path>
              <a:path w="3090544" h="253365">
                <a:moveTo>
                  <a:pt x="1268044" y="248894"/>
                </a:moveTo>
                <a:lnTo>
                  <a:pt x="1244193" y="218249"/>
                </a:lnTo>
                <a:lnTo>
                  <a:pt x="1210106" y="174459"/>
                </a:lnTo>
                <a:lnTo>
                  <a:pt x="1146378" y="92595"/>
                </a:lnTo>
                <a:lnTo>
                  <a:pt x="1074293" y="0"/>
                </a:lnTo>
                <a:lnTo>
                  <a:pt x="1023289" y="0"/>
                </a:lnTo>
                <a:lnTo>
                  <a:pt x="1023289" y="174459"/>
                </a:lnTo>
                <a:lnTo>
                  <a:pt x="894892" y="174459"/>
                </a:lnTo>
                <a:lnTo>
                  <a:pt x="960107" y="92595"/>
                </a:lnTo>
                <a:lnTo>
                  <a:pt x="1023289" y="174459"/>
                </a:lnTo>
                <a:lnTo>
                  <a:pt x="1023289" y="0"/>
                </a:lnTo>
                <a:lnTo>
                  <a:pt x="866051" y="0"/>
                </a:lnTo>
                <a:lnTo>
                  <a:pt x="906818" y="52743"/>
                </a:lnTo>
                <a:lnTo>
                  <a:pt x="746315" y="248894"/>
                </a:lnTo>
                <a:lnTo>
                  <a:pt x="839660" y="248894"/>
                </a:lnTo>
                <a:lnTo>
                  <a:pt x="864831" y="218249"/>
                </a:lnTo>
                <a:lnTo>
                  <a:pt x="1057160" y="218249"/>
                </a:lnTo>
                <a:lnTo>
                  <a:pt x="1080795" y="248894"/>
                </a:lnTo>
                <a:lnTo>
                  <a:pt x="1268044" y="248894"/>
                </a:lnTo>
                <a:close/>
              </a:path>
              <a:path w="3090544" h="253365">
                <a:moveTo>
                  <a:pt x="1740636" y="125158"/>
                </a:moveTo>
                <a:lnTo>
                  <a:pt x="1735315" y="86347"/>
                </a:lnTo>
                <a:lnTo>
                  <a:pt x="1706829" y="43764"/>
                </a:lnTo>
                <a:lnTo>
                  <a:pt x="1654098" y="13538"/>
                </a:lnTo>
                <a:lnTo>
                  <a:pt x="1604657" y="3365"/>
                </a:lnTo>
                <a:lnTo>
                  <a:pt x="1585315" y="2298"/>
                </a:lnTo>
                <a:lnTo>
                  <a:pt x="1585315" y="124942"/>
                </a:lnTo>
                <a:lnTo>
                  <a:pt x="1580108" y="158673"/>
                </a:lnTo>
                <a:lnTo>
                  <a:pt x="1564487" y="183870"/>
                </a:lnTo>
                <a:lnTo>
                  <a:pt x="1538516" y="199644"/>
                </a:lnTo>
                <a:lnTo>
                  <a:pt x="1502232" y="205105"/>
                </a:lnTo>
                <a:lnTo>
                  <a:pt x="1458353" y="205105"/>
                </a:lnTo>
                <a:lnTo>
                  <a:pt x="1458353" y="43764"/>
                </a:lnTo>
                <a:lnTo>
                  <a:pt x="1502232" y="43764"/>
                </a:lnTo>
                <a:lnTo>
                  <a:pt x="1538414" y="49377"/>
                </a:lnTo>
                <a:lnTo>
                  <a:pt x="1564398" y="65506"/>
                </a:lnTo>
                <a:lnTo>
                  <a:pt x="1580070" y="91059"/>
                </a:lnTo>
                <a:lnTo>
                  <a:pt x="1585315" y="124942"/>
                </a:lnTo>
                <a:lnTo>
                  <a:pt x="1585315" y="2298"/>
                </a:lnTo>
                <a:lnTo>
                  <a:pt x="1543723" y="0"/>
                </a:lnTo>
                <a:lnTo>
                  <a:pt x="1301597" y="0"/>
                </a:lnTo>
                <a:lnTo>
                  <a:pt x="1301597" y="248894"/>
                </a:lnTo>
                <a:lnTo>
                  <a:pt x="1543723" y="248894"/>
                </a:lnTo>
                <a:lnTo>
                  <a:pt x="1604314" y="245668"/>
                </a:lnTo>
                <a:lnTo>
                  <a:pt x="1653654" y="235839"/>
                </a:lnTo>
                <a:lnTo>
                  <a:pt x="1691855" y="219138"/>
                </a:lnTo>
                <a:lnTo>
                  <a:pt x="1735251" y="164058"/>
                </a:lnTo>
                <a:lnTo>
                  <a:pt x="1740636" y="125158"/>
                </a:lnTo>
                <a:close/>
              </a:path>
              <a:path w="3090544" h="253365">
                <a:moveTo>
                  <a:pt x="2277529" y="248894"/>
                </a:moveTo>
                <a:lnTo>
                  <a:pt x="2206523" y="157530"/>
                </a:lnTo>
                <a:lnTo>
                  <a:pt x="2231339" y="145008"/>
                </a:lnTo>
                <a:lnTo>
                  <a:pt x="2249703" y="127965"/>
                </a:lnTo>
                <a:lnTo>
                  <a:pt x="2261095" y="106921"/>
                </a:lnTo>
                <a:lnTo>
                  <a:pt x="2265019" y="82397"/>
                </a:lnTo>
                <a:lnTo>
                  <a:pt x="2258149" y="50393"/>
                </a:lnTo>
                <a:lnTo>
                  <a:pt x="2252942" y="43802"/>
                </a:lnTo>
                <a:lnTo>
                  <a:pt x="2237448" y="24193"/>
                </a:lnTo>
                <a:lnTo>
                  <a:pt x="2202789" y="6502"/>
                </a:lnTo>
                <a:lnTo>
                  <a:pt x="2154047" y="0"/>
                </a:lnTo>
                <a:lnTo>
                  <a:pt x="1820545" y="0"/>
                </a:lnTo>
                <a:lnTo>
                  <a:pt x="1820545" y="248894"/>
                </a:lnTo>
                <a:lnTo>
                  <a:pt x="1977072" y="248894"/>
                </a:lnTo>
                <a:lnTo>
                  <a:pt x="1977072" y="43802"/>
                </a:lnTo>
                <a:lnTo>
                  <a:pt x="2047989" y="43802"/>
                </a:lnTo>
                <a:lnTo>
                  <a:pt x="2073948" y="47777"/>
                </a:lnTo>
                <a:lnTo>
                  <a:pt x="2091486" y="58178"/>
                </a:lnTo>
                <a:lnTo>
                  <a:pt x="2101392" y="72783"/>
                </a:lnTo>
                <a:lnTo>
                  <a:pt x="2104517" y="89331"/>
                </a:lnTo>
                <a:lnTo>
                  <a:pt x="2098624" y="111201"/>
                </a:lnTo>
                <a:lnTo>
                  <a:pt x="2083714" y="127012"/>
                </a:lnTo>
                <a:lnTo>
                  <a:pt x="2063915" y="136613"/>
                </a:lnTo>
                <a:lnTo>
                  <a:pt x="2043353" y="139852"/>
                </a:lnTo>
                <a:lnTo>
                  <a:pt x="2022157" y="139852"/>
                </a:lnTo>
                <a:lnTo>
                  <a:pt x="2081834" y="248894"/>
                </a:lnTo>
                <a:lnTo>
                  <a:pt x="2277529" y="248894"/>
                </a:lnTo>
                <a:close/>
              </a:path>
              <a:path w="3090544" h="253365">
                <a:moveTo>
                  <a:pt x="2523629" y="12"/>
                </a:moveTo>
                <a:lnTo>
                  <a:pt x="2366886" y="12"/>
                </a:lnTo>
                <a:lnTo>
                  <a:pt x="2366886" y="248894"/>
                </a:lnTo>
                <a:lnTo>
                  <a:pt x="2523629" y="248894"/>
                </a:lnTo>
                <a:lnTo>
                  <a:pt x="2523629" y="12"/>
                </a:lnTo>
                <a:close/>
              </a:path>
              <a:path w="3090544" h="253365">
                <a:moveTo>
                  <a:pt x="3090049" y="248894"/>
                </a:moveTo>
                <a:lnTo>
                  <a:pt x="3066224" y="218249"/>
                </a:lnTo>
                <a:lnTo>
                  <a:pt x="3032163" y="174459"/>
                </a:lnTo>
                <a:lnTo>
                  <a:pt x="2968498" y="92595"/>
                </a:lnTo>
                <a:lnTo>
                  <a:pt x="2896476" y="0"/>
                </a:lnTo>
                <a:lnTo>
                  <a:pt x="2845473" y="0"/>
                </a:lnTo>
                <a:lnTo>
                  <a:pt x="2845473" y="174459"/>
                </a:lnTo>
                <a:lnTo>
                  <a:pt x="2716720" y="174459"/>
                </a:lnTo>
                <a:lnTo>
                  <a:pt x="2782201" y="92595"/>
                </a:lnTo>
                <a:lnTo>
                  <a:pt x="2845473" y="174459"/>
                </a:lnTo>
                <a:lnTo>
                  <a:pt x="2845473" y="0"/>
                </a:lnTo>
                <a:lnTo>
                  <a:pt x="2688132" y="0"/>
                </a:lnTo>
                <a:lnTo>
                  <a:pt x="2728988" y="52743"/>
                </a:lnTo>
                <a:lnTo>
                  <a:pt x="2568397" y="248894"/>
                </a:lnTo>
                <a:lnTo>
                  <a:pt x="2661729" y="248894"/>
                </a:lnTo>
                <a:lnTo>
                  <a:pt x="2686913" y="218249"/>
                </a:lnTo>
                <a:lnTo>
                  <a:pt x="2879267" y="218249"/>
                </a:lnTo>
                <a:lnTo>
                  <a:pt x="2902902" y="248894"/>
                </a:lnTo>
                <a:lnTo>
                  <a:pt x="3090049" y="248894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en-AU"/>
          </a:p>
        </p:txBody>
      </p:sp>
      <p:sp>
        <p:nvSpPr>
          <p:cNvPr id="2053" name="Holder 3">
            <a:extLst>
              <a:ext uri="{FF2B5EF4-FFF2-40B4-BE49-F238E27FC236}">
                <a16:creationId xmlns:a16="http://schemas.microsoft.com/office/drawing/2014/main" id="{EF2C00F0-2781-1E6B-DA8B-8F39EAAEE4AC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1004888" y="2601913"/>
            <a:ext cx="18094325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endParaRPr lang="sl-SI" altLang="sl-SI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52" r:id="rId1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>
          <a:solidFill>
            <a:schemeClr val="tx2"/>
          </a:solidFill>
          <a:latin typeface="Calibri" panose="020F0502020204030204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>
          <a:solidFill>
            <a:schemeClr val="tx2"/>
          </a:solidFill>
          <a:latin typeface="Calibri" panose="020F0502020204030204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>
          <a:solidFill>
            <a:schemeClr val="tx2"/>
          </a:solidFill>
          <a:latin typeface="Calibri" panose="020F0502020204030204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>
          <a:solidFill>
            <a:schemeClr val="tx2"/>
          </a:solidFill>
          <a:latin typeface="Calibri" panose="020F0502020204030204" pitchFamily="34" charset="0"/>
        </a:defRPr>
      </a:lvl5pPr>
      <a:lvl6pPr marL="457200" algn="ctr" rtl="0" eaLnBrk="0" fontAlgn="base" hangingPunct="0">
        <a:spcBef>
          <a:spcPct val="0"/>
        </a:spcBef>
        <a:spcAft>
          <a:spcPct val="0"/>
        </a:spcAft>
        <a:defRPr>
          <a:solidFill>
            <a:schemeClr val="tx2"/>
          </a:solidFill>
          <a:latin typeface="Calibri" panose="020F0502020204030204" pitchFamily="34" charset="0"/>
        </a:defRPr>
      </a:lvl6pPr>
      <a:lvl7pPr marL="914400" algn="ctr" rtl="0" eaLnBrk="0" fontAlgn="base" hangingPunct="0">
        <a:spcBef>
          <a:spcPct val="0"/>
        </a:spcBef>
        <a:spcAft>
          <a:spcPct val="0"/>
        </a:spcAft>
        <a:defRPr>
          <a:solidFill>
            <a:schemeClr val="tx2"/>
          </a:solidFill>
          <a:latin typeface="Calibri" panose="020F0502020204030204" pitchFamily="34" charset="0"/>
        </a:defRPr>
      </a:lvl7pPr>
      <a:lvl8pPr marL="1371600" algn="ctr" rtl="0" eaLnBrk="0" fontAlgn="base" hangingPunct="0">
        <a:spcBef>
          <a:spcPct val="0"/>
        </a:spcBef>
        <a:spcAft>
          <a:spcPct val="0"/>
        </a:spcAft>
        <a:defRPr>
          <a:solidFill>
            <a:schemeClr val="tx2"/>
          </a:solidFill>
          <a:latin typeface="Calibri" panose="020F0502020204030204" pitchFamily="34" charset="0"/>
        </a:defRPr>
      </a:lvl8pPr>
      <a:lvl9pPr marL="1828800" algn="ctr" rtl="0" eaLnBrk="0" fontAlgn="base" hangingPunct="0">
        <a:spcBef>
          <a:spcPct val="0"/>
        </a:spcBef>
        <a:spcAft>
          <a:spcPct val="0"/>
        </a:spcAft>
        <a:defRPr>
          <a:solidFill>
            <a:schemeClr val="tx2"/>
          </a:solidFill>
          <a:latin typeface="Calibri" panose="020F0502020204030204" pitchFamily="34" charset="0"/>
        </a:defRPr>
      </a:lvl9pPr>
    </p:titleStyle>
    <p:bodyStyle>
      <a:lvl1pPr algn="l" rtl="0" eaLnBrk="0" fontAlgn="base" hangingPunct="0">
        <a:spcBef>
          <a:spcPct val="20000"/>
        </a:spcBef>
        <a:spcAft>
          <a:spcPct val="0"/>
        </a:spcAft>
        <a:defRPr>
          <a:solidFill>
            <a:schemeClr val="tx1"/>
          </a:solidFill>
          <a:latin typeface="Helvetica" pitchFamily="2" charset="0"/>
          <a:ea typeface="+mn-ea"/>
          <a:cs typeface="+mn-cs"/>
        </a:defRPr>
      </a:lvl1pPr>
      <a:lvl2pPr marL="457200" algn="l" rtl="0" eaLnBrk="0" fontAlgn="base" hangingPunct="0">
        <a:spcBef>
          <a:spcPct val="20000"/>
        </a:spcBef>
        <a:spcAft>
          <a:spcPct val="0"/>
        </a:spcAft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0" fontAlgn="base" hangingPunct="0">
        <a:spcBef>
          <a:spcPct val="20000"/>
        </a:spcBef>
        <a:spcAft>
          <a:spcPct val="0"/>
        </a:spcAft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0" fontAlgn="base" hangingPunct="0">
        <a:spcBef>
          <a:spcPct val="20000"/>
        </a:spcBef>
        <a:spcAft>
          <a:spcPct val="0"/>
        </a:spcAft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0" fontAlgn="base" hangingPunct="0">
        <a:spcBef>
          <a:spcPct val="20000"/>
        </a:spcBef>
        <a:spcAft>
          <a:spcPct val="0"/>
        </a:spcAft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74" name="Predmet 1" hidden="1">
            <a:extLst>
              <a:ext uri="{FF2B5EF4-FFF2-40B4-BE49-F238E27FC236}">
                <a16:creationId xmlns:a16="http://schemas.microsoft.com/office/drawing/2014/main" id="{5EA6B396-D1FA-8D72-4A79-CFA2487B2C2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3074" name="Predmet 1" hidden="1">
                        <a:extLst>
                          <a:ext uri="{FF2B5EF4-FFF2-40B4-BE49-F238E27FC236}">
                            <a16:creationId xmlns:a16="http://schemas.microsoft.com/office/drawing/2014/main" id="{5EA6B396-D1FA-8D72-4A79-CFA2487B2C27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5" name="bg object 16">
            <a:extLst>
              <a:ext uri="{FF2B5EF4-FFF2-40B4-BE49-F238E27FC236}">
                <a16:creationId xmlns:a16="http://schemas.microsoft.com/office/drawing/2014/main" id="{668B1837-FB42-9B7F-BAC2-E107AD410390}"/>
              </a:ext>
            </a:extLst>
          </p:cNvPr>
          <p:cNvSpPr>
            <a:spLocks/>
          </p:cNvSpPr>
          <p:nvPr userDrawn="1"/>
        </p:nvSpPr>
        <p:spPr bwMode="auto">
          <a:xfrm>
            <a:off x="0" y="15875"/>
            <a:ext cx="20104100" cy="1530350"/>
          </a:xfrm>
          <a:custGeom>
            <a:avLst/>
            <a:gdLst>
              <a:gd name="T0" fmla="*/ 0 w 20104100"/>
              <a:gd name="T1" fmla="*/ 1530592 h 1530985"/>
              <a:gd name="T2" fmla="*/ 20104099 w 20104100"/>
              <a:gd name="T3" fmla="*/ 1530592 h 1530985"/>
              <a:gd name="T4" fmla="*/ 20104099 w 20104100"/>
              <a:gd name="T5" fmla="*/ 0 h 1530985"/>
              <a:gd name="T6" fmla="*/ 0 w 20104100"/>
              <a:gd name="T7" fmla="*/ 0 h 1530985"/>
              <a:gd name="T8" fmla="*/ 0 w 20104100"/>
              <a:gd name="T9" fmla="*/ 1530592 h 15309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0104100" h="1530985">
                <a:moveTo>
                  <a:pt x="0" y="1530592"/>
                </a:moveTo>
                <a:lnTo>
                  <a:pt x="20104099" y="1530592"/>
                </a:lnTo>
                <a:lnTo>
                  <a:pt x="20104099" y="0"/>
                </a:lnTo>
                <a:lnTo>
                  <a:pt x="0" y="0"/>
                </a:lnTo>
                <a:lnTo>
                  <a:pt x="0" y="1530592"/>
                </a:lnTo>
                <a:close/>
              </a:path>
            </a:pathLst>
          </a:custGeom>
          <a:solidFill>
            <a:srgbClr val="767B6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en-AU"/>
          </a:p>
        </p:txBody>
      </p:sp>
      <p:sp>
        <p:nvSpPr>
          <p:cNvPr id="3076" name="object 2">
            <a:extLst>
              <a:ext uri="{FF2B5EF4-FFF2-40B4-BE49-F238E27FC236}">
                <a16:creationId xmlns:a16="http://schemas.microsoft.com/office/drawing/2014/main" id="{2385CDFF-48EF-E6C5-0927-94E6242BA81D}"/>
              </a:ext>
            </a:extLst>
          </p:cNvPr>
          <p:cNvSpPr>
            <a:spLocks/>
          </p:cNvSpPr>
          <p:nvPr userDrawn="1"/>
        </p:nvSpPr>
        <p:spPr bwMode="auto">
          <a:xfrm>
            <a:off x="16451263" y="663575"/>
            <a:ext cx="3090862" cy="254000"/>
          </a:xfrm>
          <a:custGeom>
            <a:avLst/>
            <a:gdLst>
              <a:gd name="T0" fmla="*/ 343852 w 3090544"/>
              <a:gd name="T1" fmla="*/ 175133 h 253365"/>
              <a:gd name="T2" fmla="*/ 293979 w 3090544"/>
              <a:gd name="T3" fmla="*/ 165417 h 253365"/>
              <a:gd name="T4" fmla="*/ 266420 w 3090544"/>
              <a:gd name="T5" fmla="*/ 207365 h 253365"/>
              <a:gd name="T6" fmla="*/ 293979 w 3090544"/>
              <a:gd name="T7" fmla="*/ 249301 h 253365"/>
              <a:gd name="T8" fmla="*/ 343852 w 3090544"/>
              <a:gd name="T9" fmla="*/ 239534 h 253365"/>
              <a:gd name="T10" fmla="*/ 622452 w 3090544"/>
              <a:gd name="T11" fmla="*/ 246989 h 253365"/>
              <a:gd name="T12" fmla="*/ 413931 w 3090544"/>
              <a:gd name="T13" fmla="*/ 7061 h 253365"/>
              <a:gd name="T14" fmla="*/ 75628 w 3090544"/>
              <a:gd name="T15" fmla="*/ 9728 h 253365"/>
              <a:gd name="T16" fmla="*/ 0 w 3090544"/>
              <a:gd name="T17" fmla="*/ 123494 h 253365"/>
              <a:gd name="T18" fmla="*/ 75628 w 3090544"/>
              <a:gd name="T19" fmla="*/ 237286 h 253365"/>
              <a:gd name="T20" fmla="*/ 238823 w 3090544"/>
              <a:gd name="T21" fmla="*/ 203530 h 253365"/>
              <a:gd name="T22" fmla="*/ 164350 w 3090544"/>
              <a:gd name="T23" fmla="*/ 153962 h 253365"/>
              <a:gd name="T24" fmla="*/ 181749 w 3090544"/>
              <a:gd name="T25" fmla="*/ 65608 h 253365"/>
              <a:gd name="T26" fmla="*/ 258483 w 3090544"/>
              <a:gd name="T27" fmla="*/ 44411 h 253365"/>
              <a:gd name="T28" fmla="*/ 303085 w 3090544"/>
              <a:gd name="T29" fmla="*/ 74142 h 253365"/>
              <a:gd name="T30" fmla="*/ 1268044 w 3090544"/>
              <a:gd name="T31" fmla="*/ 248894 h 253365"/>
              <a:gd name="T32" fmla="*/ 1146378 w 3090544"/>
              <a:gd name="T33" fmla="*/ 92595 h 253365"/>
              <a:gd name="T34" fmla="*/ 1023289 w 3090544"/>
              <a:gd name="T35" fmla="*/ 174459 h 253365"/>
              <a:gd name="T36" fmla="*/ 1023289 w 3090544"/>
              <a:gd name="T37" fmla="*/ 174459 h 253365"/>
              <a:gd name="T38" fmla="*/ 906818 w 3090544"/>
              <a:gd name="T39" fmla="*/ 52743 h 253365"/>
              <a:gd name="T40" fmla="*/ 864831 w 3090544"/>
              <a:gd name="T41" fmla="*/ 218249 h 253365"/>
              <a:gd name="T42" fmla="*/ 1268044 w 3090544"/>
              <a:gd name="T43" fmla="*/ 248894 h 253365"/>
              <a:gd name="T44" fmla="*/ 1706829 w 3090544"/>
              <a:gd name="T45" fmla="*/ 43764 h 253365"/>
              <a:gd name="T46" fmla="*/ 1585315 w 3090544"/>
              <a:gd name="T47" fmla="*/ 2298 h 253365"/>
              <a:gd name="T48" fmla="*/ 1564487 w 3090544"/>
              <a:gd name="T49" fmla="*/ 183870 h 253365"/>
              <a:gd name="T50" fmla="*/ 1458353 w 3090544"/>
              <a:gd name="T51" fmla="*/ 205105 h 253365"/>
              <a:gd name="T52" fmla="*/ 1538414 w 3090544"/>
              <a:gd name="T53" fmla="*/ 49377 h 253365"/>
              <a:gd name="T54" fmla="*/ 1585315 w 3090544"/>
              <a:gd name="T55" fmla="*/ 124942 h 253365"/>
              <a:gd name="T56" fmla="*/ 1301597 w 3090544"/>
              <a:gd name="T57" fmla="*/ 0 h 253365"/>
              <a:gd name="T58" fmla="*/ 1604314 w 3090544"/>
              <a:gd name="T59" fmla="*/ 245668 h 253365"/>
              <a:gd name="T60" fmla="*/ 1735251 w 3090544"/>
              <a:gd name="T61" fmla="*/ 164058 h 253365"/>
              <a:gd name="T62" fmla="*/ 2206523 w 3090544"/>
              <a:gd name="T63" fmla="*/ 157530 h 253365"/>
              <a:gd name="T64" fmla="*/ 2261095 w 3090544"/>
              <a:gd name="T65" fmla="*/ 106921 h 253365"/>
              <a:gd name="T66" fmla="*/ 2252942 w 3090544"/>
              <a:gd name="T67" fmla="*/ 43802 h 253365"/>
              <a:gd name="T68" fmla="*/ 2154047 w 3090544"/>
              <a:gd name="T69" fmla="*/ 0 h 253365"/>
              <a:gd name="T70" fmla="*/ 1977072 w 3090544"/>
              <a:gd name="T71" fmla="*/ 248894 h 253365"/>
              <a:gd name="T72" fmla="*/ 2073948 w 3090544"/>
              <a:gd name="T73" fmla="*/ 47777 h 253365"/>
              <a:gd name="T74" fmla="*/ 2104517 w 3090544"/>
              <a:gd name="T75" fmla="*/ 89331 h 253365"/>
              <a:gd name="T76" fmla="*/ 2063915 w 3090544"/>
              <a:gd name="T77" fmla="*/ 136613 h 253365"/>
              <a:gd name="T78" fmla="*/ 2081834 w 3090544"/>
              <a:gd name="T79" fmla="*/ 248894 h 253365"/>
              <a:gd name="T80" fmla="*/ 2366886 w 3090544"/>
              <a:gd name="T81" fmla="*/ 12 h 253365"/>
              <a:gd name="T82" fmla="*/ 2523629 w 3090544"/>
              <a:gd name="T83" fmla="*/ 12 h 253365"/>
              <a:gd name="T84" fmla="*/ 3032163 w 3090544"/>
              <a:gd name="T85" fmla="*/ 174459 h 253365"/>
              <a:gd name="T86" fmla="*/ 2845473 w 3090544"/>
              <a:gd name="T87" fmla="*/ 0 h 253365"/>
              <a:gd name="T88" fmla="*/ 2782201 w 3090544"/>
              <a:gd name="T89" fmla="*/ 92595 h 253365"/>
              <a:gd name="T90" fmla="*/ 2688132 w 3090544"/>
              <a:gd name="T91" fmla="*/ 0 h 253365"/>
              <a:gd name="T92" fmla="*/ 2661729 w 3090544"/>
              <a:gd name="T93" fmla="*/ 248894 h 253365"/>
              <a:gd name="T94" fmla="*/ 2902902 w 3090544"/>
              <a:gd name="T95" fmla="*/ 248894 h 25336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3090544" h="253365">
                <a:moveTo>
                  <a:pt x="357009" y="207365"/>
                </a:moveTo>
                <a:lnTo>
                  <a:pt x="353491" y="189585"/>
                </a:lnTo>
                <a:lnTo>
                  <a:pt x="343852" y="175133"/>
                </a:lnTo>
                <a:lnTo>
                  <a:pt x="329476" y="165417"/>
                </a:lnTo>
                <a:lnTo>
                  <a:pt x="311746" y="161861"/>
                </a:lnTo>
                <a:lnTo>
                  <a:pt x="293979" y="165417"/>
                </a:lnTo>
                <a:lnTo>
                  <a:pt x="279577" y="175133"/>
                </a:lnTo>
                <a:lnTo>
                  <a:pt x="269938" y="189585"/>
                </a:lnTo>
                <a:lnTo>
                  <a:pt x="266420" y="207365"/>
                </a:lnTo>
                <a:lnTo>
                  <a:pt x="269938" y="225056"/>
                </a:lnTo>
                <a:lnTo>
                  <a:pt x="279577" y="239534"/>
                </a:lnTo>
                <a:lnTo>
                  <a:pt x="293979" y="249301"/>
                </a:lnTo>
                <a:lnTo>
                  <a:pt x="311746" y="252895"/>
                </a:lnTo>
                <a:lnTo>
                  <a:pt x="329476" y="249301"/>
                </a:lnTo>
                <a:lnTo>
                  <a:pt x="343852" y="239534"/>
                </a:lnTo>
                <a:lnTo>
                  <a:pt x="353491" y="225056"/>
                </a:lnTo>
                <a:lnTo>
                  <a:pt x="357009" y="207365"/>
                </a:lnTo>
                <a:close/>
              </a:path>
              <a:path w="3090544" h="253365">
                <a:moveTo>
                  <a:pt x="622452" y="246989"/>
                </a:moveTo>
                <a:lnTo>
                  <a:pt x="493928" y="81991"/>
                </a:lnTo>
                <a:lnTo>
                  <a:pt x="469874" y="51904"/>
                </a:lnTo>
                <a:lnTo>
                  <a:pt x="413931" y="7061"/>
                </a:lnTo>
                <a:lnTo>
                  <a:pt x="377621" y="12"/>
                </a:lnTo>
                <a:lnTo>
                  <a:pt x="123710" y="12"/>
                </a:lnTo>
                <a:lnTo>
                  <a:pt x="75628" y="9728"/>
                </a:lnTo>
                <a:lnTo>
                  <a:pt x="36296" y="36195"/>
                </a:lnTo>
                <a:lnTo>
                  <a:pt x="9740" y="75450"/>
                </a:lnTo>
                <a:lnTo>
                  <a:pt x="0" y="123494"/>
                </a:lnTo>
                <a:lnTo>
                  <a:pt x="9740" y="171564"/>
                </a:lnTo>
                <a:lnTo>
                  <a:pt x="36296" y="210820"/>
                </a:lnTo>
                <a:lnTo>
                  <a:pt x="75628" y="237286"/>
                </a:lnTo>
                <a:lnTo>
                  <a:pt x="123710" y="246989"/>
                </a:lnTo>
                <a:lnTo>
                  <a:pt x="238823" y="246989"/>
                </a:lnTo>
                <a:lnTo>
                  <a:pt x="238823" y="203530"/>
                </a:lnTo>
                <a:lnTo>
                  <a:pt x="207429" y="197129"/>
                </a:lnTo>
                <a:lnTo>
                  <a:pt x="181724" y="179705"/>
                </a:lnTo>
                <a:lnTo>
                  <a:pt x="164350" y="153962"/>
                </a:lnTo>
                <a:lnTo>
                  <a:pt x="157975" y="122542"/>
                </a:lnTo>
                <a:lnTo>
                  <a:pt x="164363" y="91198"/>
                </a:lnTo>
                <a:lnTo>
                  <a:pt x="181749" y="65608"/>
                </a:lnTo>
                <a:lnTo>
                  <a:pt x="207530" y="48361"/>
                </a:lnTo>
                <a:lnTo>
                  <a:pt x="239064" y="42037"/>
                </a:lnTo>
                <a:lnTo>
                  <a:pt x="258483" y="44411"/>
                </a:lnTo>
                <a:lnTo>
                  <a:pt x="275844" y="51041"/>
                </a:lnTo>
                <a:lnTo>
                  <a:pt x="290817" y="61201"/>
                </a:lnTo>
                <a:lnTo>
                  <a:pt x="303085" y="74142"/>
                </a:lnTo>
                <a:lnTo>
                  <a:pt x="436664" y="246989"/>
                </a:lnTo>
                <a:lnTo>
                  <a:pt x="622452" y="246989"/>
                </a:lnTo>
                <a:close/>
              </a:path>
              <a:path w="3090544" h="253365">
                <a:moveTo>
                  <a:pt x="1268044" y="248894"/>
                </a:moveTo>
                <a:lnTo>
                  <a:pt x="1244193" y="218249"/>
                </a:lnTo>
                <a:lnTo>
                  <a:pt x="1210106" y="174459"/>
                </a:lnTo>
                <a:lnTo>
                  <a:pt x="1146378" y="92595"/>
                </a:lnTo>
                <a:lnTo>
                  <a:pt x="1074293" y="0"/>
                </a:lnTo>
                <a:lnTo>
                  <a:pt x="1023289" y="0"/>
                </a:lnTo>
                <a:lnTo>
                  <a:pt x="1023289" y="174459"/>
                </a:lnTo>
                <a:lnTo>
                  <a:pt x="894892" y="174459"/>
                </a:lnTo>
                <a:lnTo>
                  <a:pt x="960107" y="92595"/>
                </a:lnTo>
                <a:lnTo>
                  <a:pt x="1023289" y="174459"/>
                </a:lnTo>
                <a:lnTo>
                  <a:pt x="1023289" y="0"/>
                </a:lnTo>
                <a:lnTo>
                  <a:pt x="866051" y="0"/>
                </a:lnTo>
                <a:lnTo>
                  <a:pt x="906818" y="52743"/>
                </a:lnTo>
                <a:lnTo>
                  <a:pt x="746315" y="248894"/>
                </a:lnTo>
                <a:lnTo>
                  <a:pt x="839660" y="248894"/>
                </a:lnTo>
                <a:lnTo>
                  <a:pt x="864831" y="218249"/>
                </a:lnTo>
                <a:lnTo>
                  <a:pt x="1057160" y="218249"/>
                </a:lnTo>
                <a:lnTo>
                  <a:pt x="1080795" y="248894"/>
                </a:lnTo>
                <a:lnTo>
                  <a:pt x="1268044" y="248894"/>
                </a:lnTo>
                <a:close/>
              </a:path>
              <a:path w="3090544" h="253365">
                <a:moveTo>
                  <a:pt x="1740636" y="125158"/>
                </a:moveTo>
                <a:lnTo>
                  <a:pt x="1735315" y="86347"/>
                </a:lnTo>
                <a:lnTo>
                  <a:pt x="1706829" y="43764"/>
                </a:lnTo>
                <a:lnTo>
                  <a:pt x="1654098" y="13538"/>
                </a:lnTo>
                <a:lnTo>
                  <a:pt x="1604657" y="3365"/>
                </a:lnTo>
                <a:lnTo>
                  <a:pt x="1585315" y="2298"/>
                </a:lnTo>
                <a:lnTo>
                  <a:pt x="1585315" y="124942"/>
                </a:lnTo>
                <a:lnTo>
                  <a:pt x="1580108" y="158673"/>
                </a:lnTo>
                <a:lnTo>
                  <a:pt x="1564487" y="183870"/>
                </a:lnTo>
                <a:lnTo>
                  <a:pt x="1538516" y="199644"/>
                </a:lnTo>
                <a:lnTo>
                  <a:pt x="1502232" y="205105"/>
                </a:lnTo>
                <a:lnTo>
                  <a:pt x="1458353" y="205105"/>
                </a:lnTo>
                <a:lnTo>
                  <a:pt x="1458353" y="43764"/>
                </a:lnTo>
                <a:lnTo>
                  <a:pt x="1502232" y="43764"/>
                </a:lnTo>
                <a:lnTo>
                  <a:pt x="1538414" y="49377"/>
                </a:lnTo>
                <a:lnTo>
                  <a:pt x="1564398" y="65506"/>
                </a:lnTo>
                <a:lnTo>
                  <a:pt x="1580070" y="91059"/>
                </a:lnTo>
                <a:lnTo>
                  <a:pt x="1585315" y="124942"/>
                </a:lnTo>
                <a:lnTo>
                  <a:pt x="1585315" y="2298"/>
                </a:lnTo>
                <a:lnTo>
                  <a:pt x="1543723" y="0"/>
                </a:lnTo>
                <a:lnTo>
                  <a:pt x="1301597" y="0"/>
                </a:lnTo>
                <a:lnTo>
                  <a:pt x="1301597" y="248894"/>
                </a:lnTo>
                <a:lnTo>
                  <a:pt x="1543723" y="248894"/>
                </a:lnTo>
                <a:lnTo>
                  <a:pt x="1604314" y="245668"/>
                </a:lnTo>
                <a:lnTo>
                  <a:pt x="1653654" y="235839"/>
                </a:lnTo>
                <a:lnTo>
                  <a:pt x="1691855" y="219138"/>
                </a:lnTo>
                <a:lnTo>
                  <a:pt x="1735251" y="164058"/>
                </a:lnTo>
                <a:lnTo>
                  <a:pt x="1740636" y="125158"/>
                </a:lnTo>
                <a:close/>
              </a:path>
              <a:path w="3090544" h="253365">
                <a:moveTo>
                  <a:pt x="2277529" y="248894"/>
                </a:moveTo>
                <a:lnTo>
                  <a:pt x="2206523" y="157530"/>
                </a:lnTo>
                <a:lnTo>
                  <a:pt x="2231339" y="145008"/>
                </a:lnTo>
                <a:lnTo>
                  <a:pt x="2249703" y="127965"/>
                </a:lnTo>
                <a:lnTo>
                  <a:pt x="2261095" y="106921"/>
                </a:lnTo>
                <a:lnTo>
                  <a:pt x="2265019" y="82397"/>
                </a:lnTo>
                <a:lnTo>
                  <a:pt x="2258149" y="50393"/>
                </a:lnTo>
                <a:lnTo>
                  <a:pt x="2252942" y="43802"/>
                </a:lnTo>
                <a:lnTo>
                  <a:pt x="2237448" y="24193"/>
                </a:lnTo>
                <a:lnTo>
                  <a:pt x="2202789" y="6502"/>
                </a:lnTo>
                <a:lnTo>
                  <a:pt x="2154047" y="0"/>
                </a:lnTo>
                <a:lnTo>
                  <a:pt x="1820545" y="0"/>
                </a:lnTo>
                <a:lnTo>
                  <a:pt x="1820545" y="248894"/>
                </a:lnTo>
                <a:lnTo>
                  <a:pt x="1977072" y="248894"/>
                </a:lnTo>
                <a:lnTo>
                  <a:pt x="1977072" y="43802"/>
                </a:lnTo>
                <a:lnTo>
                  <a:pt x="2047989" y="43802"/>
                </a:lnTo>
                <a:lnTo>
                  <a:pt x="2073948" y="47777"/>
                </a:lnTo>
                <a:lnTo>
                  <a:pt x="2091486" y="58178"/>
                </a:lnTo>
                <a:lnTo>
                  <a:pt x="2101392" y="72783"/>
                </a:lnTo>
                <a:lnTo>
                  <a:pt x="2104517" y="89331"/>
                </a:lnTo>
                <a:lnTo>
                  <a:pt x="2098624" y="111201"/>
                </a:lnTo>
                <a:lnTo>
                  <a:pt x="2083714" y="127012"/>
                </a:lnTo>
                <a:lnTo>
                  <a:pt x="2063915" y="136613"/>
                </a:lnTo>
                <a:lnTo>
                  <a:pt x="2043353" y="139852"/>
                </a:lnTo>
                <a:lnTo>
                  <a:pt x="2022157" y="139852"/>
                </a:lnTo>
                <a:lnTo>
                  <a:pt x="2081834" y="248894"/>
                </a:lnTo>
                <a:lnTo>
                  <a:pt x="2277529" y="248894"/>
                </a:lnTo>
                <a:close/>
              </a:path>
              <a:path w="3090544" h="253365">
                <a:moveTo>
                  <a:pt x="2523629" y="12"/>
                </a:moveTo>
                <a:lnTo>
                  <a:pt x="2366886" y="12"/>
                </a:lnTo>
                <a:lnTo>
                  <a:pt x="2366886" y="248894"/>
                </a:lnTo>
                <a:lnTo>
                  <a:pt x="2523629" y="248894"/>
                </a:lnTo>
                <a:lnTo>
                  <a:pt x="2523629" y="12"/>
                </a:lnTo>
                <a:close/>
              </a:path>
              <a:path w="3090544" h="253365">
                <a:moveTo>
                  <a:pt x="3090049" y="248894"/>
                </a:moveTo>
                <a:lnTo>
                  <a:pt x="3066224" y="218249"/>
                </a:lnTo>
                <a:lnTo>
                  <a:pt x="3032163" y="174459"/>
                </a:lnTo>
                <a:lnTo>
                  <a:pt x="2968498" y="92595"/>
                </a:lnTo>
                <a:lnTo>
                  <a:pt x="2896476" y="0"/>
                </a:lnTo>
                <a:lnTo>
                  <a:pt x="2845473" y="0"/>
                </a:lnTo>
                <a:lnTo>
                  <a:pt x="2845473" y="174459"/>
                </a:lnTo>
                <a:lnTo>
                  <a:pt x="2716720" y="174459"/>
                </a:lnTo>
                <a:lnTo>
                  <a:pt x="2782201" y="92595"/>
                </a:lnTo>
                <a:lnTo>
                  <a:pt x="2845473" y="174459"/>
                </a:lnTo>
                <a:lnTo>
                  <a:pt x="2845473" y="0"/>
                </a:lnTo>
                <a:lnTo>
                  <a:pt x="2688132" y="0"/>
                </a:lnTo>
                <a:lnTo>
                  <a:pt x="2728988" y="52743"/>
                </a:lnTo>
                <a:lnTo>
                  <a:pt x="2568397" y="248894"/>
                </a:lnTo>
                <a:lnTo>
                  <a:pt x="2661729" y="248894"/>
                </a:lnTo>
                <a:lnTo>
                  <a:pt x="2686913" y="218249"/>
                </a:lnTo>
                <a:lnTo>
                  <a:pt x="2879267" y="218249"/>
                </a:lnTo>
                <a:lnTo>
                  <a:pt x="2902902" y="248894"/>
                </a:lnTo>
                <a:lnTo>
                  <a:pt x="3090049" y="248894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en-AU"/>
          </a:p>
        </p:txBody>
      </p:sp>
      <p:sp>
        <p:nvSpPr>
          <p:cNvPr id="3077" name="Holder 3">
            <a:extLst>
              <a:ext uri="{FF2B5EF4-FFF2-40B4-BE49-F238E27FC236}">
                <a16:creationId xmlns:a16="http://schemas.microsoft.com/office/drawing/2014/main" id="{3DD27514-6619-BCFB-22EC-E717A7CB05A8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1004888" y="2601913"/>
            <a:ext cx="18094325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endParaRPr lang="sl-SI" altLang="sl-SI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53" r:id="rId1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>
          <a:solidFill>
            <a:schemeClr val="tx2"/>
          </a:solidFill>
          <a:latin typeface="Calibri" panose="020F0502020204030204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>
          <a:solidFill>
            <a:schemeClr val="tx2"/>
          </a:solidFill>
          <a:latin typeface="Calibri" panose="020F0502020204030204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>
          <a:solidFill>
            <a:schemeClr val="tx2"/>
          </a:solidFill>
          <a:latin typeface="Calibri" panose="020F0502020204030204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>
          <a:solidFill>
            <a:schemeClr val="tx2"/>
          </a:solidFill>
          <a:latin typeface="Calibri" panose="020F0502020204030204" pitchFamily="34" charset="0"/>
        </a:defRPr>
      </a:lvl5pPr>
      <a:lvl6pPr marL="457200" algn="ctr" rtl="0" eaLnBrk="0" fontAlgn="base" hangingPunct="0">
        <a:spcBef>
          <a:spcPct val="0"/>
        </a:spcBef>
        <a:spcAft>
          <a:spcPct val="0"/>
        </a:spcAft>
        <a:defRPr>
          <a:solidFill>
            <a:schemeClr val="tx2"/>
          </a:solidFill>
          <a:latin typeface="Calibri" panose="020F0502020204030204" pitchFamily="34" charset="0"/>
        </a:defRPr>
      </a:lvl6pPr>
      <a:lvl7pPr marL="914400" algn="ctr" rtl="0" eaLnBrk="0" fontAlgn="base" hangingPunct="0">
        <a:spcBef>
          <a:spcPct val="0"/>
        </a:spcBef>
        <a:spcAft>
          <a:spcPct val="0"/>
        </a:spcAft>
        <a:defRPr>
          <a:solidFill>
            <a:schemeClr val="tx2"/>
          </a:solidFill>
          <a:latin typeface="Calibri" panose="020F0502020204030204" pitchFamily="34" charset="0"/>
        </a:defRPr>
      </a:lvl7pPr>
      <a:lvl8pPr marL="1371600" algn="ctr" rtl="0" eaLnBrk="0" fontAlgn="base" hangingPunct="0">
        <a:spcBef>
          <a:spcPct val="0"/>
        </a:spcBef>
        <a:spcAft>
          <a:spcPct val="0"/>
        </a:spcAft>
        <a:defRPr>
          <a:solidFill>
            <a:schemeClr val="tx2"/>
          </a:solidFill>
          <a:latin typeface="Calibri" panose="020F0502020204030204" pitchFamily="34" charset="0"/>
        </a:defRPr>
      </a:lvl8pPr>
      <a:lvl9pPr marL="1828800" algn="ctr" rtl="0" eaLnBrk="0" fontAlgn="base" hangingPunct="0">
        <a:spcBef>
          <a:spcPct val="0"/>
        </a:spcBef>
        <a:spcAft>
          <a:spcPct val="0"/>
        </a:spcAft>
        <a:defRPr>
          <a:solidFill>
            <a:schemeClr val="tx2"/>
          </a:solidFill>
          <a:latin typeface="Calibri" panose="020F0502020204030204" pitchFamily="34" charset="0"/>
        </a:defRPr>
      </a:lvl9pPr>
    </p:titleStyle>
    <p:bodyStyle>
      <a:lvl1pPr algn="l" rtl="0" eaLnBrk="0" fontAlgn="base" hangingPunct="0">
        <a:spcBef>
          <a:spcPct val="20000"/>
        </a:spcBef>
        <a:spcAft>
          <a:spcPct val="0"/>
        </a:spcAft>
        <a:defRPr>
          <a:solidFill>
            <a:schemeClr val="tx1"/>
          </a:solidFill>
          <a:latin typeface="Helvetica" pitchFamily="2" charset="0"/>
          <a:ea typeface="+mn-ea"/>
          <a:cs typeface="+mn-cs"/>
        </a:defRPr>
      </a:lvl1pPr>
      <a:lvl2pPr marL="457200" algn="l" rtl="0" eaLnBrk="0" fontAlgn="base" hangingPunct="0">
        <a:spcBef>
          <a:spcPct val="20000"/>
        </a:spcBef>
        <a:spcAft>
          <a:spcPct val="0"/>
        </a:spcAft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0" fontAlgn="base" hangingPunct="0">
        <a:spcBef>
          <a:spcPct val="20000"/>
        </a:spcBef>
        <a:spcAft>
          <a:spcPct val="0"/>
        </a:spcAft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0" fontAlgn="base" hangingPunct="0">
        <a:spcBef>
          <a:spcPct val="20000"/>
        </a:spcBef>
        <a:spcAft>
          <a:spcPct val="0"/>
        </a:spcAft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0" fontAlgn="base" hangingPunct="0">
        <a:spcBef>
          <a:spcPct val="20000"/>
        </a:spcBef>
        <a:spcAft>
          <a:spcPct val="0"/>
        </a:spcAft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98" name="Predmet 1" hidden="1">
            <a:extLst>
              <a:ext uri="{FF2B5EF4-FFF2-40B4-BE49-F238E27FC236}">
                <a16:creationId xmlns:a16="http://schemas.microsoft.com/office/drawing/2014/main" id="{153237E6-DA04-892D-7AA0-D04BF2443F2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0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360" imgH="360" progId="TCLayout.ActiveDocument.1">
                  <p:embed/>
                </p:oleObj>
              </mc:Choice>
              <mc:Fallback>
                <p:oleObj name="think-cell Slide" r:id="rId11" imgW="360" imgH="360" progId="TCLayout.ActiveDocument.1">
                  <p:embed/>
                  <p:pic>
                    <p:nvPicPr>
                      <p:cNvPr id="4098" name="Predmet 1" hidden="1">
                        <a:extLst>
                          <a:ext uri="{FF2B5EF4-FFF2-40B4-BE49-F238E27FC236}">
                            <a16:creationId xmlns:a16="http://schemas.microsoft.com/office/drawing/2014/main" id="{153237E6-DA04-892D-7AA0-D04BF2443F23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99" name="Holder 3">
            <a:extLst>
              <a:ext uri="{FF2B5EF4-FFF2-40B4-BE49-F238E27FC236}">
                <a16:creationId xmlns:a16="http://schemas.microsoft.com/office/drawing/2014/main" id="{371E10CE-E0FF-9BEF-E993-56068E72A268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1004888" y="2601913"/>
            <a:ext cx="18094325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endParaRPr lang="sl-SI" altLang="sl-SI"/>
          </a:p>
        </p:txBody>
      </p:sp>
      <p:sp>
        <p:nvSpPr>
          <p:cNvPr id="4100" name="bg object 16">
            <a:extLst>
              <a:ext uri="{FF2B5EF4-FFF2-40B4-BE49-F238E27FC236}">
                <a16:creationId xmlns:a16="http://schemas.microsoft.com/office/drawing/2014/main" id="{4130ED88-6221-1E5B-0DE5-7506CE34A638}"/>
              </a:ext>
            </a:extLst>
          </p:cNvPr>
          <p:cNvSpPr>
            <a:spLocks/>
          </p:cNvSpPr>
          <p:nvPr userDrawn="1"/>
        </p:nvSpPr>
        <p:spPr bwMode="auto">
          <a:xfrm>
            <a:off x="0" y="0"/>
            <a:ext cx="20104100" cy="1546225"/>
          </a:xfrm>
          <a:custGeom>
            <a:avLst/>
            <a:gdLst>
              <a:gd name="T0" fmla="*/ 0 w 20104100"/>
              <a:gd name="T1" fmla="*/ 1530592 h 1530985"/>
              <a:gd name="T2" fmla="*/ 20104099 w 20104100"/>
              <a:gd name="T3" fmla="*/ 1530592 h 1530985"/>
              <a:gd name="T4" fmla="*/ 20104099 w 20104100"/>
              <a:gd name="T5" fmla="*/ 0 h 1530985"/>
              <a:gd name="T6" fmla="*/ 0 w 20104100"/>
              <a:gd name="T7" fmla="*/ 0 h 1530985"/>
              <a:gd name="T8" fmla="*/ 0 w 20104100"/>
              <a:gd name="T9" fmla="*/ 1530592 h 15309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0104100" h="1530985">
                <a:moveTo>
                  <a:pt x="0" y="1530592"/>
                </a:moveTo>
                <a:lnTo>
                  <a:pt x="20104099" y="1530592"/>
                </a:lnTo>
                <a:lnTo>
                  <a:pt x="20104099" y="0"/>
                </a:lnTo>
                <a:lnTo>
                  <a:pt x="0" y="0"/>
                </a:lnTo>
                <a:lnTo>
                  <a:pt x="0" y="1530592"/>
                </a:lnTo>
                <a:close/>
              </a:path>
            </a:pathLst>
          </a:custGeom>
          <a:solidFill>
            <a:srgbClr val="6F778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en-AU"/>
          </a:p>
        </p:txBody>
      </p:sp>
      <p:sp>
        <p:nvSpPr>
          <p:cNvPr id="8" name="Holder 2">
            <a:extLst>
              <a:ext uri="{FF2B5EF4-FFF2-40B4-BE49-F238E27FC236}">
                <a16:creationId xmlns:a16="http://schemas.microsoft.com/office/drawing/2014/main" id="{860C3A21-C3FF-EF35-FB3A-01E86476103E}"/>
              </a:ext>
            </a:extLst>
          </p:cNvPr>
          <p:cNvSpPr txBox="1">
            <a:spLocks/>
          </p:cNvSpPr>
          <p:nvPr userDrawn="1"/>
        </p:nvSpPr>
        <p:spPr>
          <a:xfrm>
            <a:off x="3346450" y="606425"/>
            <a:ext cx="10163175" cy="400050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>
            <a:lvl1pPr>
              <a:defRPr sz="2600" b="1" i="0">
                <a:solidFill>
                  <a:schemeClr val="bg1"/>
                </a:solidFill>
                <a:latin typeface="Helvetica" pitchFamily="2" charset="0"/>
                <a:ea typeface="+mj-ea"/>
                <a:cs typeface="Helvetica Neue"/>
              </a:defRPr>
            </a:lvl1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it-IT" b="0" kern="0" spc="300" dirty="0">
                <a:latin typeface="Helvetica Light" panose="020B0403020202020204" pitchFamily="34" charset="0"/>
              </a:rPr>
              <a:t>COLLECTION</a:t>
            </a:r>
          </a:p>
        </p:txBody>
      </p:sp>
      <p:sp>
        <p:nvSpPr>
          <p:cNvPr id="9" name="Holder 2">
            <a:extLst>
              <a:ext uri="{FF2B5EF4-FFF2-40B4-BE49-F238E27FC236}">
                <a16:creationId xmlns:a16="http://schemas.microsoft.com/office/drawing/2014/main" id="{5E27449B-6020-4408-6F81-8CB6DD23EE3C}"/>
              </a:ext>
            </a:extLst>
          </p:cNvPr>
          <p:cNvSpPr txBox="1">
            <a:spLocks/>
          </p:cNvSpPr>
          <p:nvPr userDrawn="1"/>
        </p:nvSpPr>
        <p:spPr>
          <a:xfrm>
            <a:off x="679450" y="606425"/>
            <a:ext cx="2667000" cy="400050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>
            <a:lvl1pPr>
              <a:defRPr sz="2600" b="1" i="0">
                <a:solidFill>
                  <a:schemeClr val="bg1"/>
                </a:solidFill>
                <a:latin typeface="Helvetica" pitchFamily="2" charset="0"/>
                <a:ea typeface="+mj-ea"/>
                <a:cs typeface="Helvetica Neue"/>
              </a:defRPr>
            </a:lvl1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it-IT" spc="600" dirty="0"/>
              <a:t>CARAVANS</a:t>
            </a:r>
            <a:endParaRPr lang="it-IT" kern="0" spc="600" dirty="0"/>
          </a:p>
        </p:txBody>
      </p:sp>
      <p:sp>
        <p:nvSpPr>
          <p:cNvPr id="4103" name="object 2">
            <a:extLst>
              <a:ext uri="{FF2B5EF4-FFF2-40B4-BE49-F238E27FC236}">
                <a16:creationId xmlns:a16="http://schemas.microsoft.com/office/drawing/2014/main" id="{31FC12A9-4156-26A5-2F0D-D6EA97934F8E}"/>
              </a:ext>
            </a:extLst>
          </p:cNvPr>
          <p:cNvSpPr>
            <a:spLocks/>
          </p:cNvSpPr>
          <p:nvPr userDrawn="1"/>
        </p:nvSpPr>
        <p:spPr bwMode="auto">
          <a:xfrm>
            <a:off x="16451263" y="663575"/>
            <a:ext cx="3090862" cy="254000"/>
          </a:xfrm>
          <a:custGeom>
            <a:avLst/>
            <a:gdLst>
              <a:gd name="T0" fmla="*/ 343852 w 3090544"/>
              <a:gd name="T1" fmla="*/ 175133 h 253365"/>
              <a:gd name="T2" fmla="*/ 293979 w 3090544"/>
              <a:gd name="T3" fmla="*/ 165417 h 253365"/>
              <a:gd name="T4" fmla="*/ 266420 w 3090544"/>
              <a:gd name="T5" fmla="*/ 207365 h 253365"/>
              <a:gd name="T6" fmla="*/ 293979 w 3090544"/>
              <a:gd name="T7" fmla="*/ 249301 h 253365"/>
              <a:gd name="T8" fmla="*/ 343852 w 3090544"/>
              <a:gd name="T9" fmla="*/ 239534 h 253365"/>
              <a:gd name="T10" fmla="*/ 622452 w 3090544"/>
              <a:gd name="T11" fmla="*/ 246989 h 253365"/>
              <a:gd name="T12" fmla="*/ 413931 w 3090544"/>
              <a:gd name="T13" fmla="*/ 7061 h 253365"/>
              <a:gd name="T14" fmla="*/ 75628 w 3090544"/>
              <a:gd name="T15" fmla="*/ 9728 h 253365"/>
              <a:gd name="T16" fmla="*/ 0 w 3090544"/>
              <a:gd name="T17" fmla="*/ 123494 h 253365"/>
              <a:gd name="T18" fmla="*/ 75628 w 3090544"/>
              <a:gd name="T19" fmla="*/ 237286 h 253365"/>
              <a:gd name="T20" fmla="*/ 238823 w 3090544"/>
              <a:gd name="T21" fmla="*/ 203530 h 253365"/>
              <a:gd name="T22" fmla="*/ 164350 w 3090544"/>
              <a:gd name="T23" fmla="*/ 153962 h 253365"/>
              <a:gd name="T24" fmla="*/ 181749 w 3090544"/>
              <a:gd name="T25" fmla="*/ 65608 h 253365"/>
              <a:gd name="T26" fmla="*/ 258483 w 3090544"/>
              <a:gd name="T27" fmla="*/ 44411 h 253365"/>
              <a:gd name="T28" fmla="*/ 303085 w 3090544"/>
              <a:gd name="T29" fmla="*/ 74142 h 253365"/>
              <a:gd name="T30" fmla="*/ 1268044 w 3090544"/>
              <a:gd name="T31" fmla="*/ 248894 h 253365"/>
              <a:gd name="T32" fmla="*/ 1146378 w 3090544"/>
              <a:gd name="T33" fmla="*/ 92595 h 253365"/>
              <a:gd name="T34" fmla="*/ 1023289 w 3090544"/>
              <a:gd name="T35" fmla="*/ 174459 h 253365"/>
              <a:gd name="T36" fmla="*/ 1023289 w 3090544"/>
              <a:gd name="T37" fmla="*/ 174459 h 253365"/>
              <a:gd name="T38" fmla="*/ 906818 w 3090544"/>
              <a:gd name="T39" fmla="*/ 52743 h 253365"/>
              <a:gd name="T40" fmla="*/ 864831 w 3090544"/>
              <a:gd name="T41" fmla="*/ 218249 h 253365"/>
              <a:gd name="T42" fmla="*/ 1268044 w 3090544"/>
              <a:gd name="T43" fmla="*/ 248894 h 253365"/>
              <a:gd name="T44" fmla="*/ 1706829 w 3090544"/>
              <a:gd name="T45" fmla="*/ 43764 h 253365"/>
              <a:gd name="T46" fmla="*/ 1585315 w 3090544"/>
              <a:gd name="T47" fmla="*/ 2298 h 253365"/>
              <a:gd name="T48" fmla="*/ 1564487 w 3090544"/>
              <a:gd name="T49" fmla="*/ 183870 h 253365"/>
              <a:gd name="T50" fmla="*/ 1458353 w 3090544"/>
              <a:gd name="T51" fmla="*/ 205105 h 253365"/>
              <a:gd name="T52" fmla="*/ 1538414 w 3090544"/>
              <a:gd name="T53" fmla="*/ 49377 h 253365"/>
              <a:gd name="T54" fmla="*/ 1585315 w 3090544"/>
              <a:gd name="T55" fmla="*/ 124942 h 253365"/>
              <a:gd name="T56" fmla="*/ 1301597 w 3090544"/>
              <a:gd name="T57" fmla="*/ 0 h 253365"/>
              <a:gd name="T58" fmla="*/ 1604314 w 3090544"/>
              <a:gd name="T59" fmla="*/ 245668 h 253365"/>
              <a:gd name="T60" fmla="*/ 1735251 w 3090544"/>
              <a:gd name="T61" fmla="*/ 164058 h 253365"/>
              <a:gd name="T62" fmla="*/ 2206523 w 3090544"/>
              <a:gd name="T63" fmla="*/ 157530 h 253365"/>
              <a:gd name="T64" fmla="*/ 2261095 w 3090544"/>
              <a:gd name="T65" fmla="*/ 106921 h 253365"/>
              <a:gd name="T66" fmla="*/ 2252942 w 3090544"/>
              <a:gd name="T67" fmla="*/ 43802 h 253365"/>
              <a:gd name="T68" fmla="*/ 2154047 w 3090544"/>
              <a:gd name="T69" fmla="*/ 0 h 253365"/>
              <a:gd name="T70" fmla="*/ 1977072 w 3090544"/>
              <a:gd name="T71" fmla="*/ 248894 h 253365"/>
              <a:gd name="T72" fmla="*/ 2073948 w 3090544"/>
              <a:gd name="T73" fmla="*/ 47777 h 253365"/>
              <a:gd name="T74" fmla="*/ 2104517 w 3090544"/>
              <a:gd name="T75" fmla="*/ 89331 h 253365"/>
              <a:gd name="T76" fmla="*/ 2063915 w 3090544"/>
              <a:gd name="T77" fmla="*/ 136613 h 253365"/>
              <a:gd name="T78" fmla="*/ 2081834 w 3090544"/>
              <a:gd name="T79" fmla="*/ 248894 h 253365"/>
              <a:gd name="T80" fmla="*/ 2366886 w 3090544"/>
              <a:gd name="T81" fmla="*/ 12 h 253365"/>
              <a:gd name="T82" fmla="*/ 2523629 w 3090544"/>
              <a:gd name="T83" fmla="*/ 12 h 253365"/>
              <a:gd name="T84" fmla="*/ 3032163 w 3090544"/>
              <a:gd name="T85" fmla="*/ 174459 h 253365"/>
              <a:gd name="T86" fmla="*/ 2845473 w 3090544"/>
              <a:gd name="T87" fmla="*/ 0 h 253365"/>
              <a:gd name="T88" fmla="*/ 2782201 w 3090544"/>
              <a:gd name="T89" fmla="*/ 92595 h 253365"/>
              <a:gd name="T90" fmla="*/ 2688132 w 3090544"/>
              <a:gd name="T91" fmla="*/ 0 h 253365"/>
              <a:gd name="T92" fmla="*/ 2661729 w 3090544"/>
              <a:gd name="T93" fmla="*/ 248894 h 253365"/>
              <a:gd name="T94" fmla="*/ 2902902 w 3090544"/>
              <a:gd name="T95" fmla="*/ 248894 h 25336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3090544" h="253365">
                <a:moveTo>
                  <a:pt x="357009" y="207365"/>
                </a:moveTo>
                <a:lnTo>
                  <a:pt x="353491" y="189585"/>
                </a:lnTo>
                <a:lnTo>
                  <a:pt x="343852" y="175133"/>
                </a:lnTo>
                <a:lnTo>
                  <a:pt x="329476" y="165417"/>
                </a:lnTo>
                <a:lnTo>
                  <a:pt x="311746" y="161861"/>
                </a:lnTo>
                <a:lnTo>
                  <a:pt x="293979" y="165417"/>
                </a:lnTo>
                <a:lnTo>
                  <a:pt x="279577" y="175133"/>
                </a:lnTo>
                <a:lnTo>
                  <a:pt x="269938" y="189585"/>
                </a:lnTo>
                <a:lnTo>
                  <a:pt x="266420" y="207365"/>
                </a:lnTo>
                <a:lnTo>
                  <a:pt x="269938" y="225056"/>
                </a:lnTo>
                <a:lnTo>
                  <a:pt x="279577" y="239534"/>
                </a:lnTo>
                <a:lnTo>
                  <a:pt x="293979" y="249301"/>
                </a:lnTo>
                <a:lnTo>
                  <a:pt x="311746" y="252895"/>
                </a:lnTo>
                <a:lnTo>
                  <a:pt x="329476" y="249301"/>
                </a:lnTo>
                <a:lnTo>
                  <a:pt x="343852" y="239534"/>
                </a:lnTo>
                <a:lnTo>
                  <a:pt x="353491" y="225056"/>
                </a:lnTo>
                <a:lnTo>
                  <a:pt x="357009" y="207365"/>
                </a:lnTo>
                <a:close/>
              </a:path>
              <a:path w="3090544" h="253365">
                <a:moveTo>
                  <a:pt x="622452" y="246989"/>
                </a:moveTo>
                <a:lnTo>
                  <a:pt x="493928" y="81991"/>
                </a:lnTo>
                <a:lnTo>
                  <a:pt x="469874" y="51904"/>
                </a:lnTo>
                <a:lnTo>
                  <a:pt x="413931" y="7061"/>
                </a:lnTo>
                <a:lnTo>
                  <a:pt x="377621" y="12"/>
                </a:lnTo>
                <a:lnTo>
                  <a:pt x="123710" y="12"/>
                </a:lnTo>
                <a:lnTo>
                  <a:pt x="75628" y="9728"/>
                </a:lnTo>
                <a:lnTo>
                  <a:pt x="36296" y="36195"/>
                </a:lnTo>
                <a:lnTo>
                  <a:pt x="9740" y="75450"/>
                </a:lnTo>
                <a:lnTo>
                  <a:pt x="0" y="123494"/>
                </a:lnTo>
                <a:lnTo>
                  <a:pt x="9740" y="171564"/>
                </a:lnTo>
                <a:lnTo>
                  <a:pt x="36296" y="210820"/>
                </a:lnTo>
                <a:lnTo>
                  <a:pt x="75628" y="237286"/>
                </a:lnTo>
                <a:lnTo>
                  <a:pt x="123710" y="246989"/>
                </a:lnTo>
                <a:lnTo>
                  <a:pt x="238823" y="246989"/>
                </a:lnTo>
                <a:lnTo>
                  <a:pt x="238823" y="203530"/>
                </a:lnTo>
                <a:lnTo>
                  <a:pt x="207429" y="197129"/>
                </a:lnTo>
                <a:lnTo>
                  <a:pt x="181724" y="179705"/>
                </a:lnTo>
                <a:lnTo>
                  <a:pt x="164350" y="153962"/>
                </a:lnTo>
                <a:lnTo>
                  <a:pt x="157975" y="122542"/>
                </a:lnTo>
                <a:lnTo>
                  <a:pt x="164363" y="91198"/>
                </a:lnTo>
                <a:lnTo>
                  <a:pt x="181749" y="65608"/>
                </a:lnTo>
                <a:lnTo>
                  <a:pt x="207530" y="48361"/>
                </a:lnTo>
                <a:lnTo>
                  <a:pt x="239064" y="42037"/>
                </a:lnTo>
                <a:lnTo>
                  <a:pt x="258483" y="44411"/>
                </a:lnTo>
                <a:lnTo>
                  <a:pt x="275844" y="51041"/>
                </a:lnTo>
                <a:lnTo>
                  <a:pt x="290817" y="61201"/>
                </a:lnTo>
                <a:lnTo>
                  <a:pt x="303085" y="74142"/>
                </a:lnTo>
                <a:lnTo>
                  <a:pt x="436664" y="246989"/>
                </a:lnTo>
                <a:lnTo>
                  <a:pt x="622452" y="246989"/>
                </a:lnTo>
                <a:close/>
              </a:path>
              <a:path w="3090544" h="253365">
                <a:moveTo>
                  <a:pt x="1268044" y="248894"/>
                </a:moveTo>
                <a:lnTo>
                  <a:pt x="1244193" y="218249"/>
                </a:lnTo>
                <a:lnTo>
                  <a:pt x="1210106" y="174459"/>
                </a:lnTo>
                <a:lnTo>
                  <a:pt x="1146378" y="92595"/>
                </a:lnTo>
                <a:lnTo>
                  <a:pt x="1074293" y="0"/>
                </a:lnTo>
                <a:lnTo>
                  <a:pt x="1023289" y="0"/>
                </a:lnTo>
                <a:lnTo>
                  <a:pt x="1023289" y="174459"/>
                </a:lnTo>
                <a:lnTo>
                  <a:pt x="894892" y="174459"/>
                </a:lnTo>
                <a:lnTo>
                  <a:pt x="960107" y="92595"/>
                </a:lnTo>
                <a:lnTo>
                  <a:pt x="1023289" y="174459"/>
                </a:lnTo>
                <a:lnTo>
                  <a:pt x="1023289" y="0"/>
                </a:lnTo>
                <a:lnTo>
                  <a:pt x="866051" y="0"/>
                </a:lnTo>
                <a:lnTo>
                  <a:pt x="906818" y="52743"/>
                </a:lnTo>
                <a:lnTo>
                  <a:pt x="746315" y="248894"/>
                </a:lnTo>
                <a:lnTo>
                  <a:pt x="839660" y="248894"/>
                </a:lnTo>
                <a:lnTo>
                  <a:pt x="864831" y="218249"/>
                </a:lnTo>
                <a:lnTo>
                  <a:pt x="1057160" y="218249"/>
                </a:lnTo>
                <a:lnTo>
                  <a:pt x="1080795" y="248894"/>
                </a:lnTo>
                <a:lnTo>
                  <a:pt x="1268044" y="248894"/>
                </a:lnTo>
                <a:close/>
              </a:path>
              <a:path w="3090544" h="253365">
                <a:moveTo>
                  <a:pt x="1740636" y="125158"/>
                </a:moveTo>
                <a:lnTo>
                  <a:pt x="1735315" y="86347"/>
                </a:lnTo>
                <a:lnTo>
                  <a:pt x="1706829" y="43764"/>
                </a:lnTo>
                <a:lnTo>
                  <a:pt x="1654098" y="13538"/>
                </a:lnTo>
                <a:lnTo>
                  <a:pt x="1604657" y="3365"/>
                </a:lnTo>
                <a:lnTo>
                  <a:pt x="1585315" y="2298"/>
                </a:lnTo>
                <a:lnTo>
                  <a:pt x="1585315" y="124942"/>
                </a:lnTo>
                <a:lnTo>
                  <a:pt x="1580108" y="158673"/>
                </a:lnTo>
                <a:lnTo>
                  <a:pt x="1564487" y="183870"/>
                </a:lnTo>
                <a:lnTo>
                  <a:pt x="1538516" y="199644"/>
                </a:lnTo>
                <a:lnTo>
                  <a:pt x="1502232" y="205105"/>
                </a:lnTo>
                <a:lnTo>
                  <a:pt x="1458353" y="205105"/>
                </a:lnTo>
                <a:lnTo>
                  <a:pt x="1458353" y="43764"/>
                </a:lnTo>
                <a:lnTo>
                  <a:pt x="1502232" y="43764"/>
                </a:lnTo>
                <a:lnTo>
                  <a:pt x="1538414" y="49377"/>
                </a:lnTo>
                <a:lnTo>
                  <a:pt x="1564398" y="65506"/>
                </a:lnTo>
                <a:lnTo>
                  <a:pt x="1580070" y="91059"/>
                </a:lnTo>
                <a:lnTo>
                  <a:pt x="1585315" y="124942"/>
                </a:lnTo>
                <a:lnTo>
                  <a:pt x="1585315" y="2298"/>
                </a:lnTo>
                <a:lnTo>
                  <a:pt x="1543723" y="0"/>
                </a:lnTo>
                <a:lnTo>
                  <a:pt x="1301597" y="0"/>
                </a:lnTo>
                <a:lnTo>
                  <a:pt x="1301597" y="248894"/>
                </a:lnTo>
                <a:lnTo>
                  <a:pt x="1543723" y="248894"/>
                </a:lnTo>
                <a:lnTo>
                  <a:pt x="1604314" y="245668"/>
                </a:lnTo>
                <a:lnTo>
                  <a:pt x="1653654" y="235839"/>
                </a:lnTo>
                <a:lnTo>
                  <a:pt x="1691855" y="219138"/>
                </a:lnTo>
                <a:lnTo>
                  <a:pt x="1735251" y="164058"/>
                </a:lnTo>
                <a:lnTo>
                  <a:pt x="1740636" y="125158"/>
                </a:lnTo>
                <a:close/>
              </a:path>
              <a:path w="3090544" h="253365">
                <a:moveTo>
                  <a:pt x="2277529" y="248894"/>
                </a:moveTo>
                <a:lnTo>
                  <a:pt x="2206523" y="157530"/>
                </a:lnTo>
                <a:lnTo>
                  <a:pt x="2231339" y="145008"/>
                </a:lnTo>
                <a:lnTo>
                  <a:pt x="2249703" y="127965"/>
                </a:lnTo>
                <a:lnTo>
                  <a:pt x="2261095" y="106921"/>
                </a:lnTo>
                <a:lnTo>
                  <a:pt x="2265019" y="82397"/>
                </a:lnTo>
                <a:lnTo>
                  <a:pt x="2258149" y="50393"/>
                </a:lnTo>
                <a:lnTo>
                  <a:pt x="2252942" y="43802"/>
                </a:lnTo>
                <a:lnTo>
                  <a:pt x="2237448" y="24193"/>
                </a:lnTo>
                <a:lnTo>
                  <a:pt x="2202789" y="6502"/>
                </a:lnTo>
                <a:lnTo>
                  <a:pt x="2154047" y="0"/>
                </a:lnTo>
                <a:lnTo>
                  <a:pt x="1820545" y="0"/>
                </a:lnTo>
                <a:lnTo>
                  <a:pt x="1820545" y="248894"/>
                </a:lnTo>
                <a:lnTo>
                  <a:pt x="1977072" y="248894"/>
                </a:lnTo>
                <a:lnTo>
                  <a:pt x="1977072" y="43802"/>
                </a:lnTo>
                <a:lnTo>
                  <a:pt x="2047989" y="43802"/>
                </a:lnTo>
                <a:lnTo>
                  <a:pt x="2073948" y="47777"/>
                </a:lnTo>
                <a:lnTo>
                  <a:pt x="2091486" y="58178"/>
                </a:lnTo>
                <a:lnTo>
                  <a:pt x="2101392" y="72783"/>
                </a:lnTo>
                <a:lnTo>
                  <a:pt x="2104517" y="89331"/>
                </a:lnTo>
                <a:lnTo>
                  <a:pt x="2098624" y="111201"/>
                </a:lnTo>
                <a:lnTo>
                  <a:pt x="2083714" y="127012"/>
                </a:lnTo>
                <a:lnTo>
                  <a:pt x="2063915" y="136613"/>
                </a:lnTo>
                <a:lnTo>
                  <a:pt x="2043353" y="139852"/>
                </a:lnTo>
                <a:lnTo>
                  <a:pt x="2022157" y="139852"/>
                </a:lnTo>
                <a:lnTo>
                  <a:pt x="2081834" y="248894"/>
                </a:lnTo>
                <a:lnTo>
                  <a:pt x="2277529" y="248894"/>
                </a:lnTo>
                <a:close/>
              </a:path>
              <a:path w="3090544" h="253365">
                <a:moveTo>
                  <a:pt x="2523629" y="12"/>
                </a:moveTo>
                <a:lnTo>
                  <a:pt x="2366886" y="12"/>
                </a:lnTo>
                <a:lnTo>
                  <a:pt x="2366886" y="248894"/>
                </a:lnTo>
                <a:lnTo>
                  <a:pt x="2523629" y="248894"/>
                </a:lnTo>
                <a:lnTo>
                  <a:pt x="2523629" y="12"/>
                </a:lnTo>
                <a:close/>
              </a:path>
              <a:path w="3090544" h="253365">
                <a:moveTo>
                  <a:pt x="3090049" y="248894"/>
                </a:moveTo>
                <a:lnTo>
                  <a:pt x="3066224" y="218249"/>
                </a:lnTo>
                <a:lnTo>
                  <a:pt x="3032163" y="174459"/>
                </a:lnTo>
                <a:lnTo>
                  <a:pt x="2968498" y="92595"/>
                </a:lnTo>
                <a:lnTo>
                  <a:pt x="2896476" y="0"/>
                </a:lnTo>
                <a:lnTo>
                  <a:pt x="2845473" y="0"/>
                </a:lnTo>
                <a:lnTo>
                  <a:pt x="2845473" y="174459"/>
                </a:lnTo>
                <a:lnTo>
                  <a:pt x="2716720" y="174459"/>
                </a:lnTo>
                <a:lnTo>
                  <a:pt x="2782201" y="92595"/>
                </a:lnTo>
                <a:lnTo>
                  <a:pt x="2845473" y="174459"/>
                </a:lnTo>
                <a:lnTo>
                  <a:pt x="2845473" y="0"/>
                </a:lnTo>
                <a:lnTo>
                  <a:pt x="2688132" y="0"/>
                </a:lnTo>
                <a:lnTo>
                  <a:pt x="2728988" y="52743"/>
                </a:lnTo>
                <a:lnTo>
                  <a:pt x="2568397" y="248894"/>
                </a:lnTo>
                <a:lnTo>
                  <a:pt x="2661729" y="248894"/>
                </a:lnTo>
                <a:lnTo>
                  <a:pt x="2686913" y="218249"/>
                </a:lnTo>
                <a:lnTo>
                  <a:pt x="2879267" y="218249"/>
                </a:lnTo>
                <a:lnTo>
                  <a:pt x="2902902" y="248894"/>
                </a:lnTo>
                <a:lnTo>
                  <a:pt x="3090049" y="248894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en-A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62" r:id="rId1"/>
    <p:sldLayoutId id="2147483763" r:id="rId2"/>
    <p:sldLayoutId id="2147483764" r:id="rId3"/>
    <p:sldLayoutId id="2147483765" r:id="rId4"/>
    <p:sldLayoutId id="2147483766" r:id="rId5"/>
    <p:sldLayoutId id="2147483767" r:id="rId6"/>
    <p:sldLayoutId id="2147483768" r:id="rId7"/>
    <p:sldLayoutId id="2147483754" r:id="rId8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>
          <a:solidFill>
            <a:schemeClr val="tx2"/>
          </a:solidFill>
          <a:latin typeface="Calibri" panose="020F0502020204030204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>
          <a:solidFill>
            <a:schemeClr val="tx2"/>
          </a:solidFill>
          <a:latin typeface="Calibri" panose="020F0502020204030204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>
          <a:solidFill>
            <a:schemeClr val="tx2"/>
          </a:solidFill>
          <a:latin typeface="Calibri" panose="020F0502020204030204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>
          <a:solidFill>
            <a:schemeClr val="tx2"/>
          </a:solidFill>
          <a:latin typeface="Calibri" panose="020F0502020204030204" pitchFamily="34" charset="0"/>
        </a:defRPr>
      </a:lvl5pPr>
      <a:lvl6pPr marL="457200" algn="ctr" rtl="0" eaLnBrk="0" fontAlgn="base" hangingPunct="0">
        <a:spcBef>
          <a:spcPct val="0"/>
        </a:spcBef>
        <a:spcAft>
          <a:spcPct val="0"/>
        </a:spcAft>
        <a:defRPr>
          <a:solidFill>
            <a:schemeClr val="tx2"/>
          </a:solidFill>
          <a:latin typeface="Calibri" panose="020F0502020204030204" pitchFamily="34" charset="0"/>
        </a:defRPr>
      </a:lvl6pPr>
      <a:lvl7pPr marL="914400" algn="ctr" rtl="0" eaLnBrk="0" fontAlgn="base" hangingPunct="0">
        <a:spcBef>
          <a:spcPct val="0"/>
        </a:spcBef>
        <a:spcAft>
          <a:spcPct val="0"/>
        </a:spcAft>
        <a:defRPr>
          <a:solidFill>
            <a:schemeClr val="tx2"/>
          </a:solidFill>
          <a:latin typeface="Calibri" panose="020F0502020204030204" pitchFamily="34" charset="0"/>
        </a:defRPr>
      </a:lvl7pPr>
      <a:lvl8pPr marL="1371600" algn="ctr" rtl="0" eaLnBrk="0" fontAlgn="base" hangingPunct="0">
        <a:spcBef>
          <a:spcPct val="0"/>
        </a:spcBef>
        <a:spcAft>
          <a:spcPct val="0"/>
        </a:spcAft>
        <a:defRPr>
          <a:solidFill>
            <a:schemeClr val="tx2"/>
          </a:solidFill>
          <a:latin typeface="Calibri" panose="020F0502020204030204" pitchFamily="34" charset="0"/>
        </a:defRPr>
      </a:lvl8pPr>
      <a:lvl9pPr marL="1828800" algn="ctr" rtl="0" eaLnBrk="0" fontAlgn="base" hangingPunct="0">
        <a:spcBef>
          <a:spcPct val="0"/>
        </a:spcBef>
        <a:spcAft>
          <a:spcPct val="0"/>
        </a:spcAft>
        <a:defRPr>
          <a:solidFill>
            <a:schemeClr val="tx2"/>
          </a:solidFill>
          <a:latin typeface="Calibri" panose="020F0502020204030204" pitchFamily="34" charset="0"/>
        </a:defRPr>
      </a:lvl9pPr>
    </p:titleStyle>
    <p:bodyStyle>
      <a:lvl1pPr algn="l" rtl="0" eaLnBrk="0" fontAlgn="base" hangingPunct="0">
        <a:spcBef>
          <a:spcPct val="20000"/>
        </a:spcBef>
        <a:spcAft>
          <a:spcPct val="0"/>
        </a:spcAft>
        <a:defRPr>
          <a:solidFill>
            <a:schemeClr val="tx1"/>
          </a:solidFill>
          <a:latin typeface="Helvetica" pitchFamily="2" charset="0"/>
          <a:ea typeface="+mn-ea"/>
          <a:cs typeface="+mn-cs"/>
        </a:defRPr>
      </a:lvl1pPr>
      <a:lvl2pPr marL="457200" algn="l" rtl="0" eaLnBrk="0" fontAlgn="base" hangingPunct="0">
        <a:spcBef>
          <a:spcPct val="20000"/>
        </a:spcBef>
        <a:spcAft>
          <a:spcPct val="0"/>
        </a:spcAft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0" fontAlgn="base" hangingPunct="0">
        <a:spcBef>
          <a:spcPct val="20000"/>
        </a:spcBef>
        <a:spcAft>
          <a:spcPct val="0"/>
        </a:spcAft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0" fontAlgn="base" hangingPunct="0">
        <a:spcBef>
          <a:spcPct val="20000"/>
        </a:spcBef>
        <a:spcAft>
          <a:spcPct val="0"/>
        </a:spcAft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0" fontAlgn="base" hangingPunct="0">
        <a:spcBef>
          <a:spcPct val="20000"/>
        </a:spcBef>
        <a:spcAft>
          <a:spcPct val="0"/>
        </a:spcAft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122" name="Predmet 1" hidden="1">
            <a:extLst>
              <a:ext uri="{FF2B5EF4-FFF2-40B4-BE49-F238E27FC236}">
                <a16:creationId xmlns:a16="http://schemas.microsoft.com/office/drawing/2014/main" id="{8FCB3E98-0643-44F1-5319-0E1907A9907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5122" name="Predmet 1" hidden="1">
                        <a:extLst>
                          <a:ext uri="{FF2B5EF4-FFF2-40B4-BE49-F238E27FC236}">
                            <a16:creationId xmlns:a16="http://schemas.microsoft.com/office/drawing/2014/main" id="{8FCB3E98-0643-44F1-5319-0E1907A99077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23" name="Holder 3">
            <a:extLst>
              <a:ext uri="{FF2B5EF4-FFF2-40B4-BE49-F238E27FC236}">
                <a16:creationId xmlns:a16="http://schemas.microsoft.com/office/drawing/2014/main" id="{60BAB846-3BDB-34FE-23AC-1E57361169EE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1004888" y="2601913"/>
            <a:ext cx="18094325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endParaRPr lang="sl-SI" altLang="sl-SI"/>
          </a:p>
        </p:txBody>
      </p:sp>
      <p:sp>
        <p:nvSpPr>
          <p:cNvPr id="5124" name="bg object 16">
            <a:extLst>
              <a:ext uri="{FF2B5EF4-FFF2-40B4-BE49-F238E27FC236}">
                <a16:creationId xmlns:a16="http://schemas.microsoft.com/office/drawing/2014/main" id="{22C8412D-D3FD-DF03-7BFA-11CC093CD090}"/>
              </a:ext>
            </a:extLst>
          </p:cNvPr>
          <p:cNvSpPr>
            <a:spLocks/>
          </p:cNvSpPr>
          <p:nvPr userDrawn="1"/>
        </p:nvSpPr>
        <p:spPr bwMode="auto">
          <a:xfrm>
            <a:off x="0" y="0"/>
            <a:ext cx="20104100" cy="1530350"/>
          </a:xfrm>
          <a:custGeom>
            <a:avLst/>
            <a:gdLst>
              <a:gd name="T0" fmla="*/ 0 w 20104100"/>
              <a:gd name="T1" fmla="*/ 1530592 h 1530985"/>
              <a:gd name="T2" fmla="*/ 20104099 w 20104100"/>
              <a:gd name="T3" fmla="*/ 1530592 h 1530985"/>
              <a:gd name="T4" fmla="*/ 20104099 w 20104100"/>
              <a:gd name="T5" fmla="*/ 0 h 1530985"/>
              <a:gd name="T6" fmla="*/ 0 w 20104100"/>
              <a:gd name="T7" fmla="*/ 0 h 1530985"/>
              <a:gd name="T8" fmla="*/ 0 w 20104100"/>
              <a:gd name="T9" fmla="*/ 1530592 h 15309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0104100" h="1530985">
                <a:moveTo>
                  <a:pt x="0" y="1530592"/>
                </a:moveTo>
                <a:lnTo>
                  <a:pt x="20104099" y="1530592"/>
                </a:lnTo>
                <a:lnTo>
                  <a:pt x="20104099" y="0"/>
                </a:lnTo>
                <a:lnTo>
                  <a:pt x="0" y="0"/>
                </a:lnTo>
                <a:lnTo>
                  <a:pt x="0" y="1530592"/>
                </a:lnTo>
                <a:close/>
              </a:path>
            </a:pathLst>
          </a:custGeom>
          <a:solidFill>
            <a:srgbClr val="42444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en-AU"/>
          </a:p>
        </p:txBody>
      </p:sp>
      <p:sp>
        <p:nvSpPr>
          <p:cNvPr id="8" name="Holder 2">
            <a:extLst>
              <a:ext uri="{FF2B5EF4-FFF2-40B4-BE49-F238E27FC236}">
                <a16:creationId xmlns:a16="http://schemas.microsoft.com/office/drawing/2014/main" id="{A4BBB6CD-341D-0961-2A0D-EEF5A8B8A379}"/>
              </a:ext>
            </a:extLst>
          </p:cNvPr>
          <p:cNvSpPr txBox="1">
            <a:spLocks/>
          </p:cNvSpPr>
          <p:nvPr userDrawn="1"/>
        </p:nvSpPr>
        <p:spPr>
          <a:xfrm>
            <a:off x="4156075" y="606425"/>
            <a:ext cx="10163175" cy="400050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>
            <a:lvl1pPr>
              <a:defRPr sz="2600" b="1" i="0">
                <a:solidFill>
                  <a:schemeClr val="bg1"/>
                </a:solidFill>
                <a:latin typeface="Helvetica" pitchFamily="2" charset="0"/>
                <a:ea typeface="+mj-ea"/>
                <a:cs typeface="Helvetica Neue"/>
              </a:defRPr>
            </a:lvl1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it-IT" b="0" kern="0" spc="300" dirty="0">
                <a:latin typeface="Helvetica Light" panose="020B0403020202020204" pitchFamily="34" charset="0"/>
              </a:rPr>
              <a:t>COLLECTION</a:t>
            </a:r>
          </a:p>
        </p:txBody>
      </p:sp>
      <p:sp>
        <p:nvSpPr>
          <p:cNvPr id="9" name="Holder 2">
            <a:extLst>
              <a:ext uri="{FF2B5EF4-FFF2-40B4-BE49-F238E27FC236}">
                <a16:creationId xmlns:a16="http://schemas.microsoft.com/office/drawing/2014/main" id="{5AC6D5A3-1267-E702-ACBA-D8697A8EE559}"/>
              </a:ext>
            </a:extLst>
          </p:cNvPr>
          <p:cNvSpPr txBox="1">
            <a:spLocks/>
          </p:cNvSpPr>
          <p:nvPr userDrawn="1"/>
        </p:nvSpPr>
        <p:spPr>
          <a:xfrm>
            <a:off x="679450" y="606425"/>
            <a:ext cx="3429000" cy="400050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>
            <a:lvl1pPr>
              <a:defRPr sz="2600" b="1" i="0">
                <a:solidFill>
                  <a:schemeClr val="bg1"/>
                </a:solidFill>
                <a:latin typeface="Helvetica" pitchFamily="2" charset="0"/>
                <a:ea typeface="+mj-ea"/>
                <a:cs typeface="Helvetica Neue"/>
              </a:defRPr>
            </a:lvl1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it-IT" spc="600" dirty="0"/>
              <a:t>MOTORHOMES</a:t>
            </a:r>
            <a:endParaRPr lang="it-IT" kern="0" spc="600" dirty="0"/>
          </a:p>
        </p:txBody>
      </p:sp>
      <p:sp>
        <p:nvSpPr>
          <p:cNvPr id="5127" name="object 2">
            <a:extLst>
              <a:ext uri="{FF2B5EF4-FFF2-40B4-BE49-F238E27FC236}">
                <a16:creationId xmlns:a16="http://schemas.microsoft.com/office/drawing/2014/main" id="{95C63E33-1DCE-CBAF-5F3E-8D84A7E7E300}"/>
              </a:ext>
            </a:extLst>
          </p:cNvPr>
          <p:cNvSpPr>
            <a:spLocks/>
          </p:cNvSpPr>
          <p:nvPr userDrawn="1"/>
        </p:nvSpPr>
        <p:spPr bwMode="auto">
          <a:xfrm>
            <a:off x="16451263" y="663575"/>
            <a:ext cx="3090862" cy="254000"/>
          </a:xfrm>
          <a:custGeom>
            <a:avLst/>
            <a:gdLst>
              <a:gd name="T0" fmla="*/ 343852 w 3090544"/>
              <a:gd name="T1" fmla="*/ 175133 h 253365"/>
              <a:gd name="T2" fmla="*/ 293979 w 3090544"/>
              <a:gd name="T3" fmla="*/ 165417 h 253365"/>
              <a:gd name="T4" fmla="*/ 266420 w 3090544"/>
              <a:gd name="T5" fmla="*/ 207365 h 253365"/>
              <a:gd name="T6" fmla="*/ 293979 w 3090544"/>
              <a:gd name="T7" fmla="*/ 249301 h 253365"/>
              <a:gd name="T8" fmla="*/ 343852 w 3090544"/>
              <a:gd name="T9" fmla="*/ 239534 h 253365"/>
              <a:gd name="T10" fmla="*/ 622452 w 3090544"/>
              <a:gd name="T11" fmla="*/ 246989 h 253365"/>
              <a:gd name="T12" fmla="*/ 413931 w 3090544"/>
              <a:gd name="T13" fmla="*/ 7061 h 253365"/>
              <a:gd name="T14" fmla="*/ 75628 w 3090544"/>
              <a:gd name="T15" fmla="*/ 9728 h 253365"/>
              <a:gd name="T16" fmla="*/ 0 w 3090544"/>
              <a:gd name="T17" fmla="*/ 123494 h 253365"/>
              <a:gd name="T18" fmla="*/ 75628 w 3090544"/>
              <a:gd name="T19" fmla="*/ 237286 h 253365"/>
              <a:gd name="T20" fmla="*/ 238823 w 3090544"/>
              <a:gd name="T21" fmla="*/ 203530 h 253365"/>
              <a:gd name="T22" fmla="*/ 164350 w 3090544"/>
              <a:gd name="T23" fmla="*/ 153962 h 253365"/>
              <a:gd name="T24" fmla="*/ 181749 w 3090544"/>
              <a:gd name="T25" fmla="*/ 65608 h 253365"/>
              <a:gd name="T26" fmla="*/ 258483 w 3090544"/>
              <a:gd name="T27" fmla="*/ 44411 h 253365"/>
              <a:gd name="T28" fmla="*/ 303085 w 3090544"/>
              <a:gd name="T29" fmla="*/ 74142 h 253365"/>
              <a:gd name="T30" fmla="*/ 1268044 w 3090544"/>
              <a:gd name="T31" fmla="*/ 248894 h 253365"/>
              <a:gd name="T32" fmla="*/ 1146378 w 3090544"/>
              <a:gd name="T33" fmla="*/ 92595 h 253365"/>
              <a:gd name="T34" fmla="*/ 1023289 w 3090544"/>
              <a:gd name="T35" fmla="*/ 174459 h 253365"/>
              <a:gd name="T36" fmla="*/ 1023289 w 3090544"/>
              <a:gd name="T37" fmla="*/ 174459 h 253365"/>
              <a:gd name="T38" fmla="*/ 906818 w 3090544"/>
              <a:gd name="T39" fmla="*/ 52743 h 253365"/>
              <a:gd name="T40" fmla="*/ 864831 w 3090544"/>
              <a:gd name="T41" fmla="*/ 218249 h 253365"/>
              <a:gd name="T42" fmla="*/ 1268044 w 3090544"/>
              <a:gd name="T43" fmla="*/ 248894 h 253365"/>
              <a:gd name="T44" fmla="*/ 1706829 w 3090544"/>
              <a:gd name="T45" fmla="*/ 43764 h 253365"/>
              <a:gd name="T46" fmla="*/ 1585315 w 3090544"/>
              <a:gd name="T47" fmla="*/ 2298 h 253365"/>
              <a:gd name="T48" fmla="*/ 1564487 w 3090544"/>
              <a:gd name="T49" fmla="*/ 183870 h 253365"/>
              <a:gd name="T50" fmla="*/ 1458353 w 3090544"/>
              <a:gd name="T51" fmla="*/ 205105 h 253365"/>
              <a:gd name="T52" fmla="*/ 1538414 w 3090544"/>
              <a:gd name="T53" fmla="*/ 49377 h 253365"/>
              <a:gd name="T54" fmla="*/ 1585315 w 3090544"/>
              <a:gd name="T55" fmla="*/ 124942 h 253365"/>
              <a:gd name="T56" fmla="*/ 1301597 w 3090544"/>
              <a:gd name="T57" fmla="*/ 0 h 253365"/>
              <a:gd name="T58" fmla="*/ 1604314 w 3090544"/>
              <a:gd name="T59" fmla="*/ 245668 h 253365"/>
              <a:gd name="T60" fmla="*/ 1735251 w 3090544"/>
              <a:gd name="T61" fmla="*/ 164058 h 253365"/>
              <a:gd name="T62" fmla="*/ 2206523 w 3090544"/>
              <a:gd name="T63" fmla="*/ 157530 h 253365"/>
              <a:gd name="T64" fmla="*/ 2261095 w 3090544"/>
              <a:gd name="T65" fmla="*/ 106921 h 253365"/>
              <a:gd name="T66" fmla="*/ 2252942 w 3090544"/>
              <a:gd name="T67" fmla="*/ 43802 h 253365"/>
              <a:gd name="T68" fmla="*/ 2154047 w 3090544"/>
              <a:gd name="T69" fmla="*/ 0 h 253365"/>
              <a:gd name="T70" fmla="*/ 1977072 w 3090544"/>
              <a:gd name="T71" fmla="*/ 248894 h 253365"/>
              <a:gd name="T72" fmla="*/ 2073948 w 3090544"/>
              <a:gd name="T73" fmla="*/ 47777 h 253365"/>
              <a:gd name="T74" fmla="*/ 2104517 w 3090544"/>
              <a:gd name="T75" fmla="*/ 89331 h 253365"/>
              <a:gd name="T76" fmla="*/ 2063915 w 3090544"/>
              <a:gd name="T77" fmla="*/ 136613 h 253365"/>
              <a:gd name="T78" fmla="*/ 2081834 w 3090544"/>
              <a:gd name="T79" fmla="*/ 248894 h 253365"/>
              <a:gd name="T80" fmla="*/ 2366886 w 3090544"/>
              <a:gd name="T81" fmla="*/ 12 h 253365"/>
              <a:gd name="T82" fmla="*/ 2523629 w 3090544"/>
              <a:gd name="T83" fmla="*/ 12 h 253365"/>
              <a:gd name="T84" fmla="*/ 3032163 w 3090544"/>
              <a:gd name="T85" fmla="*/ 174459 h 253365"/>
              <a:gd name="T86" fmla="*/ 2845473 w 3090544"/>
              <a:gd name="T87" fmla="*/ 0 h 253365"/>
              <a:gd name="T88" fmla="*/ 2782201 w 3090544"/>
              <a:gd name="T89" fmla="*/ 92595 h 253365"/>
              <a:gd name="T90" fmla="*/ 2688132 w 3090544"/>
              <a:gd name="T91" fmla="*/ 0 h 253365"/>
              <a:gd name="T92" fmla="*/ 2661729 w 3090544"/>
              <a:gd name="T93" fmla="*/ 248894 h 253365"/>
              <a:gd name="T94" fmla="*/ 2902902 w 3090544"/>
              <a:gd name="T95" fmla="*/ 248894 h 25336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3090544" h="253365">
                <a:moveTo>
                  <a:pt x="357009" y="207365"/>
                </a:moveTo>
                <a:lnTo>
                  <a:pt x="353491" y="189585"/>
                </a:lnTo>
                <a:lnTo>
                  <a:pt x="343852" y="175133"/>
                </a:lnTo>
                <a:lnTo>
                  <a:pt x="329476" y="165417"/>
                </a:lnTo>
                <a:lnTo>
                  <a:pt x="311746" y="161861"/>
                </a:lnTo>
                <a:lnTo>
                  <a:pt x="293979" y="165417"/>
                </a:lnTo>
                <a:lnTo>
                  <a:pt x="279577" y="175133"/>
                </a:lnTo>
                <a:lnTo>
                  <a:pt x="269938" y="189585"/>
                </a:lnTo>
                <a:lnTo>
                  <a:pt x="266420" y="207365"/>
                </a:lnTo>
                <a:lnTo>
                  <a:pt x="269938" y="225056"/>
                </a:lnTo>
                <a:lnTo>
                  <a:pt x="279577" y="239534"/>
                </a:lnTo>
                <a:lnTo>
                  <a:pt x="293979" y="249301"/>
                </a:lnTo>
                <a:lnTo>
                  <a:pt x="311746" y="252895"/>
                </a:lnTo>
                <a:lnTo>
                  <a:pt x="329476" y="249301"/>
                </a:lnTo>
                <a:lnTo>
                  <a:pt x="343852" y="239534"/>
                </a:lnTo>
                <a:lnTo>
                  <a:pt x="353491" y="225056"/>
                </a:lnTo>
                <a:lnTo>
                  <a:pt x="357009" y="207365"/>
                </a:lnTo>
                <a:close/>
              </a:path>
              <a:path w="3090544" h="253365">
                <a:moveTo>
                  <a:pt x="622452" y="246989"/>
                </a:moveTo>
                <a:lnTo>
                  <a:pt x="493928" y="81991"/>
                </a:lnTo>
                <a:lnTo>
                  <a:pt x="469874" y="51904"/>
                </a:lnTo>
                <a:lnTo>
                  <a:pt x="413931" y="7061"/>
                </a:lnTo>
                <a:lnTo>
                  <a:pt x="377621" y="12"/>
                </a:lnTo>
                <a:lnTo>
                  <a:pt x="123710" y="12"/>
                </a:lnTo>
                <a:lnTo>
                  <a:pt x="75628" y="9728"/>
                </a:lnTo>
                <a:lnTo>
                  <a:pt x="36296" y="36195"/>
                </a:lnTo>
                <a:lnTo>
                  <a:pt x="9740" y="75450"/>
                </a:lnTo>
                <a:lnTo>
                  <a:pt x="0" y="123494"/>
                </a:lnTo>
                <a:lnTo>
                  <a:pt x="9740" y="171564"/>
                </a:lnTo>
                <a:lnTo>
                  <a:pt x="36296" y="210820"/>
                </a:lnTo>
                <a:lnTo>
                  <a:pt x="75628" y="237286"/>
                </a:lnTo>
                <a:lnTo>
                  <a:pt x="123710" y="246989"/>
                </a:lnTo>
                <a:lnTo>
                  <a:pt x="238823" y="246989"/>
                </a:lnTo>
                <a:lnTo>
                  <a:pt x="238823" y="203530"/>
                </a:lnTo>
                <a:lnTo>
                  <a:pt x="207429" y="197129"/>
                </a:lnTo>
                <a:lnTo>
                  <a:pt x="181724" y="179705"/>
                </a:lnTo>
                <a:lnTo>
                  <a:pt x="164350" y="153962"/>
                </a:lnTo>
                <a:lnTo>
                  <a:pt x="157975" y="122542"/>
                </a:lnTo>
                <a:lnTo>
                  <a:pt x="164363" y="91198"/>
                </a:lnTo>
                <a:lnTo>
                  <a:pt x="181749" y="65608"/>
                </a:lnTo>
                <a:lnTo>
                  <a:pt x="207530" y="48361"/>
                </a:lnTo>
                <a:lnTo>
                  <a:pt x="239064" y="42037"/>
                </a:lnTo>
                <a:lnTo>
                  <a:pt x="258483" y="44411"/>
                </a:lnTo>
                <a:lnTo>
                  <a:pt x="275844" y="51041"/>
                </a:lnTo>
                <a:lnTo>
                  <a:pt x="290817" y="61201"/>
                </a:lnTo>
                <a:lnTo>
                  <a:pt x="303085" y="74142"/>
                </a:lnTo>
                <a:lnTo>
                  <a:pt x="436664" y="246989"/>
                </a:lnTo>
                <a:lnTo>
                  <a:pt x="622452" y="246989"/>
                </a:lnTo>
                <a:close/>
              </a:path>
              <a:path w="3090544" h="253365">
                <a:moveTo>
                  <a:pt x="1268044" y="248894"/>
                </a:moveTo>
                <a:lnTo>
                  <a:pt x="1244193" y="218249"/>
                </a:lnTo>
                <a:lnTo>
                  <a:pt x="1210106" y="174459"/>
                </a:lnTo>
                <a:lnTo>
                  <a:pt x="1146378" y="92595"/>
                </a:lnTo>
                <a:lnTo>
                  <a:pt x="1074293" y="0"/>
                </a:lnTo>
                <a:lnTo>
                  <a:pt x="1023289" y="0"/>
                </a:lnTo>
                <a:lnTo>
                  <a:pt x="1023289" y="174459"/>
                </a:lnTo>
                <a:lnTo>
                  <a:pt x="894892" y="174459"/>
                </a:lnTo>
                <a:lnTo>
                  <a:pt x="960107" y="92595"/>
                </a:lnTo>
                <a:lnTo>
                  <a:pt x="1023289" y="174459"/>
                </a:lnTo>
                <a:lnTo>
                  <a:pt x="1023289" y="0"/>
                </a:lnTo>
                <a:lnTo>
                  <a:pt x="866051" y="0"/>
                </a:lnTo>
                <a:lnTo>
                  <a:pt x="906818" y="52743"/>
                </a:lnTo>
                <a:lnTo>
                  <a:pt x="746315" y="248894"/>
                </a:lnTo>
                <a:lnTo>
                  <a:pt x="839660" y="248894"/>
                </a:lnTo>
                <a:lnTo>
                  <a:pt x="864831" y="218249"/>
                </a:lnTo>
                <a:lnTo>
                  <a:pt x="1057160" y="218249"/>
                </a:lnTo>
                <a:lnTo>
                  <a:pt x="1080795" y="248894"/>
                </a:lnTo>
                <a:lnTo>
                  <a:pt x="1268044" y="248894"/>
                </a:lnTo>
                <a:close/>
              </a:path>
              <a:path w="3090544" h="253365">
                <a:moveTo>
                  <a:pt x="1740636" y="125158"/>
                </a:moveTo>
                <a:lnTo>
                  <a:pt x="1735315" y="86347"/>
                </a:lnTo>
                <a:lnTo>
                  <a:pt x="1706829" y="43764"/>
                </a:lnTo>
                <a:lnTo>
                  <a:pt x="1654098" y="13538"/>
                </a:lnTo>
                <a:lnTo>
                  <a:pt x="1604657" y="3365"/>
                </a:lnTo>
                <a:lnTo>
                  <a:pt x="1585315" y="2298"/>
                </a:lnTo>
                <a:lnTo>
                  <a:pt x="1585315" y="124942"/>
                </a:lnTo>
                <a:lnTo>
                  <a:pt x="1580108" y="158673"/>
                </a:lnTo>
                <a:lnTo>
                  <a:pt x="1564487" y="183870"/>
                </a:lnTo>
                <a:lnTo>
                  <a:pt x="1538516" y="199644"/>
                </a:lnTo>
                <a:lnTo>
                  <a:pt x="1502232" y="205105"/>
                </a:lnTo>
                <a:lnTo>
                  <a:pt x="1458353" y="205105"/>
                </a:lnTo>
                <a:lnTo>
                  <a:pt x="1458353" y="43764"/>
                </a:lnTo>
                <a:lnTo>
                  <a:pt x="1502232" y="43764"/>
                </a:lnTo>
                <a:lnTo>
                  <a:pt x="1538414" y="49377"/>
                </a:lnTo>
                <a:lnTo>
                  <a:pt x="1564398" y="65506"/>
                </a:lnTo>
                <a:lnTo>
                  <a:pt x="1580070" y="91059"/>
                </a:lnTo>
                <a:lnTo>
                  <a:pt x="1585315" y="124942"/>
                </a:lnTo>
                <a:lnTo>
                  <a:pt x="1585315" y="2298"/>
                </a:lnTo>
                <a:lnTo>
                  <a:pt x="1543723" y="0"/>
                </a:lnTo>
                <a:lnTo>
                  <a:pt x="1301597" y="0"/>
                </a:lnTo>
                <a:lnTo>
                  <a:pt x="1301597" y="248894"/>
                </a:lnTo>
                <a:lnTo>
                  <a:pt x="1543723" y="248894"/>
                </a:lnTo>
                <a:lnTo>
                  <a:pt x="1604314" y="245668"/>
                </a:lnTo>
                <a:lnTo>
                  <a:pt x="1653654" y="235839"/>
                </a:lnTo>
                <a:lnTo>
                  <a:pt x="1691855" y="219138"/>
                </a:lnTo>
                <a:lnTo>
                  <a:pt x="1735251" y="164058"/>
                </a:lnTo>
                <a:lnTo>
                  <a:pt x="1740636" y="125158"/>
                </a:lnTo>
                <a:close/>
              </a:path>
              <a:path w="3090544" h="253365">
                <a:moveTo>
                  <a:pt x="2277529" y="248894"/>
                </a:moveTo>
                <a:lnTo>
                  <a:pt x="2206523" y="157530"/>
                </a:lnTo>
                <a:lnTo>
                  <a:pt x="2231339" y="145008"/>
                </a:lnTo>
                <a:lnTo>
                  <a:pt x="2249703" y="127965"/>
                </a:lnTo>
                <a:lnTo>
                  <a:pt x="2261095" y="106921"/>
                </a:lnTo>
                <a:lnTo>
                  <a:pt x="2265019" y="82397"/>
                </a:lnTo>
                <a:lnTo>
                  <a:pt x="2258149" y="50393"/>
                </a:lnTo>
                <a:lnTo>
                  <a:pt x="2252942" y="43802"/>
                </a:lnTo>
                <a:lnTo>
                  <a:pt x="2237448" y="24193"/>
                </a:lnTo>
                <a:lnTo>
                  <a:pt x="2202789" y="6502"/>
                </a:lnTo>
                <a:lnTo>
                  <a:pt x="2154047" y="0"/>
                </a:lnTo>
                <a:lnTo>
                  <a:pt x="1820545" y="0"/>
                </a:lnTo>
                <a:lnTo>
                  <a:pt x="1820545" y="248894"/>
                </a:lnTo>
                <a:lnTo>
                  <a:pt x="1977072" y="248894"/>
                </a:lnTo>
                <a:lnTo>
                  <a:pt x="1977072" y="43802"/>
                </a:lnTo>
                <a:lnTo>
                  <a:pt x="2047989" y="43802"/>
                </a:lnTo>
                <a:lnTo>
                  <a:pt x="2073948" y="47777"/>
                </a:lnTo>
                <a:lnTo>
                  <a:pt x="2091486" y="58178"/>
                </a:lnTo>
                <a:lnTo>
                  <a:pt x="2101392" y="72783"/>
                </a:lnTo>
                <a:lnTo>
                  <a:pt x="2104517" y="89331"/>
                </a:lnTo>
                <a:lnTo>
                  <a:pt x="2098624" y="111201"/>
                </a:lnTo>
                <a:lnTo>
                  <a:pt x="2083714" y="127012"/>
                </a:lnTo>
                <a:lnTo>
                  <a:pt x="2063915" y="136613"/>
                </a:lnTo>
                <a:lnTo>
                  <a:pt x="2043353" y="139852"/>
                </a:lnTo>
                <a:lnTo>
                  <a:pt x="2022157" y="139852"/>
                </a:lnTo>
                <a:lnTo>
                  <a:pt x="2081834" y="248894"/>
                </a:lnTo>
                <a:lnTo>
                  <a:pt x="2277529" y="248894"/>
                </a:lnTo>
                <a:close/>
              </a:path>
              <a:path w="3090544" h="253365">
                <a:moveTo>
                  <a:pt x="2523629" y="12"/>
                </a:moveTo>
                <a:lnTo>
                  <a:pt x="2366886" y="12"/>
                </a:lnTo>
                <a:lnTo>
                  <a:pt x="2366886" y="248894"/>
                </a:lnTo>
                <a:lnTo>
                  <a:pt x="2523629" y="248894"/>
                </a:lnTo>
                <a:lnTo>
                  <a:pt x="2523629" y="12"/>
                </a:lnTo>
                <a:close/>
              </a:path>
              <a:path w="3090544" h="253365">
                <a:moveTo>
                  <a:pt x="3090049" y="248894"/>
                </a:moveTo>
                <a:lnTo>
                  <a:pt x="3066224" y="218249"/>
                </a:lnTo>
                <a:lnTo>
                  <a:pt x="3032163" y="174459"/>
                </a:lnTo>
                <a:lnTo>
                  <a:pt x="2968498" y="92595"/>
                </a:lnTo>
                <a:lnTo>
                  <a:pt x="2896476" y="0"/>
                </a:lnTo>
                <a:lnTo>
                  <a:pt x="2845473" y="0"/>
                </a:lnTo>
                <a:lnTo>
                  <a:pt x="2845473" y="174459"/>
                </a:lnTo>
                <a:lnTo>
                  <a:pt x="2716720" y="174459"/>
                </a:lnTo>
                <a:lnTo>
                  <a:pt x="2782201" y="92595"/>
                </a:lnTo>
                <a:lnTo>
                  <a:pt x="2845473" y="174459"/>
                </a:lnTo>
                <a:lnTo>
                  <a:pt x="2845473" y="0"/>
                </a:lnTo>
                <a:lnTo>
                  <a:pt x="2688132" y="0"/>
                </a:lnTo>
                <a:lnTo>
                  <a:pt x="2728988" y="52743"/>
                </a:lnTo>
                <a:lnTo>
                  <a:pt x="2568397" y="248894"/>
                </a:lnTo>
                <a:lnTo>
                  <a:pt x="2661729" y="248894"/>
                </a:lnTo>
                <a:lnTo>
                  <a:pt x="2686913" y="218249"/>
                </a:lnTo>
                <a:lnTo>
                  <a:pt x="2879267" y="218249"/>
                </a:lnTo>
                <a:lnTo>
                  <a:pt x="2902902" y="248894"/>
                </a:lnTo>
                <a:lnTo>
                  <a:pt x="3090049" y="248894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en-A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55" r:id="rId1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>
          <a:solidFill>
            <a:schemeClr val="tx2"/>
          </a:solidFill>
          <a:latin typeface="Calibri" panose="020F0502020204030204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>
          <a:solidFill>
            <a:schemeClr val="tx2"/>
          </a:solidFill>
          <a:latin typeface="Calibri" panose="020F0502020204030204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>
          <a:solidFill>
            <a:schemeClr val="tx2"/>
          </a:solidFill>
          <a:latin typeface="Calibri" panose="020F0502020204030204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>
          <a:solidFill>
            <a:schemeClr val="tx2"/>
          </a:solidFill>
          <a:latin typeface="Calibri" panose="020F0502020204030204" pitchFamily="34" charset="0"/>
        </a:defRPr>
      </a:lvl5pPr>
      <a:lvl6pPr marL="457200" algn="ctr" rtl="0" eaLnBrk="0" fontAlgn="base" hangingPunct="0">
        <a:spcBef>
          <a:spcPct val="0"/>
        </a:spcBef>
        <a:spcAft>
          <a:spcPct val="0"/>
        </a:spcAft>
        <a:defRPr>
          <a:solidFill>
            <a:schemeClr val="tx2"/>
          </a:solidFill>
          <a:latin typeface="Calibri" panose="020F0502020204030204" pitchFamily="34" charset="0"/>
        </a:defRPr>
      </a:lvl6pPr>
      <a:lvl7pPr marL="914400" algn="ctr" rtl="0" eaLnBrk="0" fontAlgn="base" hangingPunct="0">
        <a:spcBef>
          <a:spcPct val="0"/>
        </a:spcBef>
        <a:spcAft>
          <a:spcPct val="0"/>
        </a:spcAft>
        <a:defRPr>
          <a:solidFill>
            <a:schemeClr val="tx2"/>
          </a:solidFill>
          <a:latin typeface="Calibri" panose="020F0502020204030204" pitchFamily="34" charset="0"/>
        </a:defRPr>
      </a:lvl7pPr>
      <a:lvl8pPr marL="1371600" algn="ctr" rtl="0" eaLnBrk="0" fontAlgn="base" hangingPunct="0">
        <a:spcBef>
          <a:spcPct val="0"/>
        </a:spcBef>
        <a:spcAft>
          <a:spcPct val="0"/>
        </a:spcAft>
        <a:defRPr>
          <a:solidFill>
            <a:schemeClr val="tx2"/>
          </a:solidFill>
          <a:latin typeface="Calibri" panose="020F0502020204030204" pitchFamily="34" charset="0"/>
        </a:defRPr>
      </a:lvl8pPr>
      <a:lvl9pPr marL="1828800" algn="ctr" rtl="0" eaLnBrk="0" fontAlgn="base" hangingPunct="0">
        <a:spcBef>
          <a:spcPct val="0"/>
        </a:spcBef>
        <a:spcAft>
          <a:spcPct val="0"/>
        </a:spcAft>
        <a:defRPr>
          <a:solidFill>
            <a:schemeClr val="tx2"/>
          </a:solidFill>
          <a:latin typeface="Calibri" panose="020F0502020204030204" pitchFamily="34" charset="0"/>
        </a:defRPr>
      </a:lvl9pPr>
    </p:titleStyle>
    <p:bodyStyle>
      <a:lvl1pPr algn="l" rtl="0" eaLnBrk="0" fontAlgn="base" hangingPunct="0">
        <a:spcBef>
          <a:spcPct val="20000"/>
        </a:spcBef>
        <a:spcAft>
          <a:spcPct val="0"/>
        </a:spcAft>
        <a:defRPr>
          <a:solidFill>
            <a:schemeClr val="tx1"/>
          </a:solidFill>
          <a:latin typeface="Helvetica" pitchFamily="2" charset="0"/>
          <a:ea typeface="+mn-ea"/>
          <a:cs typeface="+mn-cs"/>
        </a:defRPr>
      </a:lvl1pPr>
      <a:lvl2pPr marL="457200" algn="l" rtl="0" eaLnBrk="0" fontAlgn="base" hangingPunct="0">
        <a:spcBef>
          <a:spcPct val="20000"/>
        </a:spcBef>
        <a:spcAft>
          <a:spcPct val="0"/>
        </a:spcAft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0" fontAlgn="base" hangingPunct="0">
        <a:spcBef>
          <a:spcPct val="20000"/>
        </a:spcBef>
        <a:spcAft>
          <a:spcPct val="0"/>
        </a:spcAft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0" fontAlgn="base" hangingPunct="0">
        <a:spcBef>
          <a:spcPct val="20000"/>
        </a:spcBef>
        <a:spcAft>
          <a:spcPct val="0"/>
        </a:spcAft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0" fontAlgn="base" hangingPunct="0">
        <a:spcBef>
          <a:spcPct val="20000"/>
        </a:spcBef>
        <a:spcAft>
          <a:spcPct val="0"/>
        </a:spcAft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146" name="Predmet 1" hidden="1">
            <a:extLst>
              <a:ext uri="{FF2B5EF4-FFF2-40B4-BE49-F238E27FC236}">
                <a16:creationId xmlns:a16="http://schemas.microsoft.com/office/drawing/2014/main" id="{E64F2316-4C36-3C6B-0447-A540661A5F0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0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360" imgH="360" progId="TCLayout.ActiveDocument.1">
                  <p:embed/>
                </p:oleObj>
              </mc:Choice>
              <mc:Fallback>
                <p:oleObj name="think-cell Slide" r:id="rId11" imgW="360" imgH="360" progId="TCLayout.ActiveDocument.1">
                  <p:embed/>
                  <p:pic>
                    <p:nvPicPr>
                      <p:cNvPr id="6146" name="Predmet 1" hidden="1">
                        <a:extLst>
                          <a:ext uri="{FF2B5EF4-FFF2-40B4-BE49-F238E27FC236}">
                            <a16:creationId xmlns:a16="http://schemas.microsoft.com/office/drawing/2014/main" id="{E64F2316-4C36-3C6B-0447-A540661A5F05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147" name="Holder 3">
            <a:extLst>
              <a:ext uri="{FF2B5EF4-FFF2-40B4-BE49-F238E27FC236}">
                <a16:creationId xmlns:a16="http://schemas.microsoft.com/office/drawing/2014/main" id="{CBD79C3E-C26A-21A5-7F1E-C81A8A9B7043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1004888" y="2601913"/>
            <a:ext cx="18094325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endParaRPr lang="sl-SI" altLang="sl-SI"/>
          </a:p>
        </p:txBody>
      </p:sp>
      <p:sp>
        <p:nvSpPr>
          <p:cNvPr id="6148" name="bg object 16">
            <a:extLst>
              <a:ext uri="{FF2B5EF4-FFF2-40B4-BE49-F238E27FC236}">
                <a16:creationId xmlns:a16="http://schemas.microsoft.com/office/drawing/2014/main" id="{5D41349D-81E3-64F7-3161-5440BEFB968A}"/>
              </a:ext>
            </a:extLst>
          </p:cNvPr>
          <p:cNvSpPr>
            <a:spLocks/>
          </p:cNvSpPr>
          <p:nvPr userDrawn="1"/>
        </p:nvSpPr>
        <p:spPr bwMode="auto">
          <a:xfrm>
            <a:off x="0" y="15875"/>
            <a:ext cx="20104100" cy="1530350"/>
          </a:xfrm>
          <a:custGeom>
            <a:avLst/>
            <a:gdLst>
              <a:gd name="T0" fmla="*/ 0 w 20104100"/>
              <a:gd name="T1" fmla="*/ 1530592 h 1530985"/>
              <a:gd name="T2" fmla="*/ 20104099 w 20104100"/>
              <a:gd name="T3" fmla="*/ 1530592 h 1530985"/>
              <a:gd name="T4" fmla="*/ 20104099 w 20104100"/>
              <a:gd name="T5" fmla="*/ 0 h 1530985"/>
              <a:gd name="T6" fmla="*/ 0 w 20104100"/>
              <a:gd name="T7" fmla="*/ 0 h 1530985"/>
              <a:gd name="T8" fmla="*/ 0 w 20104100"/>
              <a:gd name="T9" fmla="*/ 1530592 h 15309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0104100" h="1530985">
                <a:moveTo>
                  <a:pt x="0" y="1530592"/>
                </a:moveTo>
                <a:lnTo>
                  <a:pt x="20104099" y="1530592"/>
                </a:lnTo>
                <a:lnTo>
                  <a:pt x="20104099" y="0"/>
                </a:lnTo>
                <a:lnTo>
                  <a:pt x="0" y="0"/>
                </a:lnTo>
                <a:lnTo>
                  <a:pt x="0" y="1530592"/>
                </a:lnTo>
                <a:close/>
              </a:path>
            </a:pathLst>
          </a:custGeom>
          <a:solidFill>
            <a:srgbClr val="767B6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en-AU"/>
          </a:p>
        </p:txBody>
      </p:sp>
      <p:sp>
        <p:nvSpPr>
          <p:cNvPr id="8" name="Holder 2">
            <a:extLst>
              <a:ext uri="{FF2B5EF4-FFF2-40B4-BE49-F238E27FC236}">
                <a16:creationId xmlns:a16="http://schemas.microsoft.com/office/drawing/2014/main" id="{0C24F9E3-AC56-8856-D898-25C761FD6267}"/>
              </a:ext>
            </a:extLst>
          </p:cNvPr>
          <p:cNvSpPr txBox="1">
            <a:spLocks/>
          </p:cNvSpPr>
          <p:nvPr userDrawn="1"/>
        </p:nvSpPr>
        <p:spPr>
          <a:xfrm>
            <a:off x="3956050" y="606425"/>
            <a:ext cx="10163175" cy="400050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>
            <a:lvl1pPr>
              <a:defRPr sz="2600" b="1" i="0">
                <a:solidFill>
                  <a:schemeClr val="bg1"/>
                </a:solidFill>
                <a:latin typeface="Helvetica" pitchFamily="2" charset="0"/>
                <a:ea typeface="+mj-ea"/>
                <a:cs typeface="Helvetica Neue"/>
              </a:defRPr>
            </a:lvl1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it-IT" b="0" kern="0" spc="300" dirty="0">
                <a:latin typeface="Helvetica Light" panose="020B0403020202020204" pitchFamily="34" charset="0"/>
              </a:rPr>
              <a:t>COLLECTION</a:t>
            </a:r>
          </a:p>
        </p:txBody>
      </p:sp>
      <p:sp>
        <p:nvSpPr>
          <p:cNvPr id="9" name="Holder 2">
            <a:extLst>
              <a:ext uri="{FF2B5EF4-FFF2-40B4-BE49-F238E27FC236}">
                <a16:creationId xmlns:a16="http://schemas.microsoft.com/office/drawing/2014/main" id="{A407CD5D-FA35-48DF-7715-275EFD1569A9}"/>
              </a:ext>
            </a:extLst>
          </p:cNvPr>
          <p:cNvSpPr txBox="1">
            <a:spLocks/>
          </p:cNvSpPr>
          <p:nvPr userDrawn="1"/>
        </p:nvSpPr>
        <p:spPr>
          <a:xfrm>
            <a:off x="679450" y="606425"/>
            <a:ext cx="3505200" cy="400050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>
            <a:lvl1pPr>
              <a:defRPr sz="2600" b="1" i="0">
                <a:solidFill>
                  <a:schemeClr val="bg1"/>
                </a:solidFill>
                <a:latin typeface="Helvetica" pitchFamily="2" charset="0"/>
                <a:ea typeface="+mj-ea"/>
                <a:cs typeface="Helvetica Neue"/>
              </a:defRPr>
            </a:lvl1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it-IT" spc="600" dirty="0"/>
              <a:t>CAMPERVANS</a:t>
            </a:r>
            <a:endParaRPr lang="it-IT" kern="0" spc="600" dirty="0"/>
          </a:p>
        </p:txBody>
      </p:sp>
      <p:sp>
        <p:nvSpPr>
          <p:cNvPr id="6151" name="object 2">
            <a:extLst>
              <a:ext uri="{FF2B5EF4-FFF2-40B4-BE49-F238E27FC236}">
                <a16:creationId xmlns:a16="http://schemas.microsoft.com/office/drawing/2014/main" id="{88A6B821-6D40-C439-AE90-F11354709584}"/>
              </a:ext>
            </a:extLst>
          </p:cNvPr>
          <p:cNvSpPr>
            <a:spLocks/>
          </p:cNvSpPr>
          <p:nvPr userDrawn="1"/>
        </p:nvSpPr>
        <p:spPr bwMode="auto">
          <a:xfrm>
            <a:off x="16451263" y="663575"/>
            <a:ext cx="3090862" cy="254000"/>
          </a:xfrm>
          <a:custGeom>
            <a:avLst/>
            <a:gdLst>
              <a:gd name="T0" fmla="*/ 343852 w 3090544"/>
              <a:gd name="T1" fmla="*/ 175133 h 253365"/>
              <a:gd name="T2" fmla="*/ 293979 w 3090544"/>
              <a:gd name="T3" fmla="*/ 165417 h 253365"/>
              <a:gd name="T4" fmla="*/ 266420 w 3090544"/>
              <a:gd name="T5" fmla="*/ 207365 h 253365"/>
              <a:gd name="T6" fmla="*/ 293979 w 3090544"/>
              <a:gd name="T7" fmla="*/ 249301 h 253365"/>
              <a:gd name="T8" fmla="*/ 343852 w 3090544"/>
              <a:gd name="T9" fmla="*/ 239534 h 253365"/>
              <a:gd name="T10" fmla="*/ 622452 w 3090544"/>
              <a:gd name="T11" fmla="*/ 246989 h 253365"/>
              <a:gd name="T12" fmla="*/ 413931 w 3090544"/>
              <a:gd name="T13" fmla="*/ 7061 h 253365"/>
              <a:gd name="T14" fmla="*/ 75628 w 3090544"/>
              <a:gd name="T15" fmla="*/ 9728 h 253365"/>
              <a:gd name="T16" fmla="*/ 0 w 3090544"/>
              <a:gd name="T17" fmla="*/ 123494 h 253365"/>
              <a:gd name="T18" fmla="*/ 75628 w 3090544"/>
              <a:gd name="T19" fmla="*/ 237286 h 253365"/>
              <a:gd name="T20" fmla="*/ 238823 w 3090544"/>
              <a:gd name="T21" fmla="*/ 203530 h 253365"/>
              <a:gd name="T22" fmla="*/ 164350 w 3090544"/>
              <a:gd name="T23" fmla="*/ 153962 h 253365"/>
              <a:gd name="T24" fmla="*/ 181749 w 3090544"/>
              <a:gd name="T25" fmla="*/ 65608 h 253365"/>
              <a:gd name="T26" fmla="*/ 258483 w 3090544"/>
              <a:gd name="T27" fmla="*/ 44411 h 253365"/>
              <a:gd name="T28" fmla="*/ 303085 w 3090544"/>
              <a:gd name="T29" fmla="*/ 74142 h 253365"/>
              <a:gd name="T30" fmla="*/ 1268044 w 3090544"/>
              <a:gd name="T31" fmla="*/ 248894 h 253365"/>
              <a:gd name="T32" fmla="*/ 1146378 w 3090544"/>
              <a:gd name="T33" fmla="*/ 92595 h 253365"/>
              <a:gd name="T34" fmla="*/ 1023289 w 3090544"/>
              <a:gd name="T35" fmla="*/ 174459 h 253365"/>
              <a:gd name="T36" fmla="*/ 1023289 w 3090544"/>
              <a:gd name="T37" fmla="*/ 174459 h 253365"/>
              <a:gd name="T38" fmla="*/ 906818 w 3090544"/>
              <a:gd name="T39" fmla="*/ 52743 h 253365"/>
              <a:gd name="T40" fmla="*/ 864831 w 3090544"/>
              <a:gd name="T41" fmla="*/ 218249 h 253365"/>
              <a:gd name="T42" fmla="*/ 1268044 w 3090544"/>
              <a:gd name="T43" fmla="*/ 248894 h 253365"/>
              <a:gd name="T44" fmla="*/ 1706829 w 3090544"/>
              <a:gd name="T45" fmla="*/ 43764 h 253365"/>
              <a:gd name="T46" fmla="*/ 1585315 w 3090544"/>
              <a:gd name="T47" fmla="*/ 2298 h 253365"/>
              <a:gd name="T48" fmla="*/ 1564487 w 3090544"/>
              <a:gd name="T49" fmla="*/ 183870 h 253365"/>
              <a:gd name="T50" fmla="*/ 1458353 w 3090544"/>
              <a:gd name="T51" fmla="*/ 205105 h 253365"/>
              <a:gd name="T52" fmla="*/ 1538414 w 3090544"/>
              <a:gd name="T53" fmla="*/ 49377 h 253365"/>
              <a:gd name="T54" fmla="*/ 1585315 w 3090544"/>
              <a:gd name="T55" fmla="*/ 124942 h 253365"/>
              <a:gd name="T56" fmla="*/ 1301597 w 3090544"/>
              <a:gd name="T57" fmla="*/ 0 h 253365"/>
              <a:gd name="T58" fmla="*/ 1604314 w 3090544"/>
              <a:gd name="T59" fmla="*/ 245668 h 253365"/>
              <a:gd name="T60" fmla="*/ 1735251 w 3090544"/>
              <a:gd name="T61" fmla="*/ 164058 h 253365"/>
              <a:gd name="T62" fmla="*/ 2206523 w 3090544"/>
              <a:gd name="T63" fmla="*/ 157530 h 253365"/>
              <a:gd name="T64" fmla="*/ 2261095 w 3090544"/>
              <a:gd name="T65" fmla="*/ 106921 h 253365"/>
              <a:gd name="T66" fmla="*/ 2252942 w 3090544"/>
              <a:gd name="T67" fmla="*/ 43802 h 253365"/>
              <a:gd name="T68" fmla="*/ 2154047 w 3090544"/>
              <a:gd name="T69" fmla="*/ 0 h 253365"/>
              <a:gd name="T70" fmla="*/ 1977072 w 3090544"/>
              <a:gd name="T71" fmla="*/ 248894 h 253365"/>
              <a:gd name="T72" fmla="*/ 2073948 w 3090544"/>
              <a:gd name="T73" fmla="*/ 47777 h 253365"/>
              <a:gd name="T74" fmla="*/ 2104517 w 3090544"/>
              <a:gd name="T75" fmla="*/ 89331 h 253365"/>
              <a:gd name="T76" fmla="*/ 2063915 w 3090544"/>
              <a:gd name="T77" fmla="*/ 136613 h 253365"/>
              <a:gd name="T78" fmla="*/ 2081834 w 3090544"/>
              <a:gd name="T79" fmla="*/ 248894 h 253365"/>
              <a:gd name="T80" fmla="*/ 2366886 w 3090544"/>
              <a:gd name="T81" fmla="*/ 12 h 253365"/>
              <a:gd name="T82" fmla="*/ 2523629 w 3090544"/>
              <a:gd name="T83" fmla="*/ 12 h 253365"/>
              <a:gd name="T84" fmla="*/ 3032163 w 3090544"/>
              <a:gd name="T85" fmla="*/ 174459 h 253365"/>
              <a:gd name="T86" fmla="*/ 2845473 w 3090544"/>
              <a:gd name="T87" fmla="*/ 0 h 253365"/>
              <a:gd name="T88" fmla="*/ 2782201 w 3090544"/>
              <a:gd name="T89" fmla="*/ 92595 h 253365"/>
              <a:gd name="T90" fmla="*/ 2688132 w 3090544"/>
              <a:gd name="T91" fmla="*/ 0 h 253365"/>
              <a:gd name="T92" fmla="*/ 2661729 w 3090544"/>
              <a:gd name="T93" fmla="*/ 248894 h 253365"/>
              <a:gd name="T94" fmla="*/ 2902902 w 3090544"/>
              <a:gd name="T95" fmla="*/ 248894 h 25336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3090544" h="253365">
                <a:moveTo>
                  <a:pt x="357009" y="207365"/>
                </a:moveTo>
                <a:lnTo>
                  <a:pt x="353491" y="189585"/>
                </a:lnTo>
                <a:lnTo>
                  <a:pt x="343852" y="175133"/>
                </a:lnTo>
                <a:lnTo>
                  <a:pt x="329476" y="165417"/>
                </a:lnTo>
                <a:lnTo>
                  <a:pt x="311746" y="161861"/>
                </a:lnTo>
                <a:lnTo>
                  <a:pt x="293979" y="165417"/>
                </a:lnTo>
                <a:lnTo>
                  <a:pt x="279577" y="175133"/>
                </a:lnTo>
                <a:lnTo>
                  <a:pt x="269938" y="189585"/>
                </a:lnTo>
                <a:lnTo>
                  <a:pt x="266420" y="207365"/>
                </a:lnTo>
                <a:lnTo>
                  <a:pt x="269938" y="225056"/>
                </a:lnTo>
                <a:lnTo>
                  <a:pt x="279577" y="239534"/>
                </a:lnTo>
                <a:lnTo>
                  <a:pt x="293979" y="249301"/>
                </a:lnTo>
                <a:lnTo>
                  <a:pt x="311746" y="252895"/>
                </a:lnTo>
                <a:lnTo>
                  <a:pt x="329476" y="249301"/>
                </a:lnTo>
                <a:lnTo>
                  <a:pt x="343852" y="239534"/>
                </a:lnTo>
                <a:lnTo>
                  <a:pt x="353491" y="225056"/>
                </a:lnTo>
                <a:lnTo>
                  <a:pt x="357009" y="207365"/>
                </a:lnTo>
                <a:close/>
              </a:path>
              <a:path w="3090544" h="253365">
                <a:moveTo>
                  <a:pt x="622452" y="246989"/>
                </a:moveTo>
                <a:lnTo>
                  <a:pt x="493928" y="81991"/>
                </a:lnTo>
                <a:lnTo>
                  <a:pt x="469874" y="51904"/>
                </a:lnTo>
                <a:lnTo>
                  <a:pt x="413931" y="7061"/>
                </a:lnTo>
                <a:lnTo>
                  <a:pt x="377621" y="12"/>
                </a:lnTo>
                <a:lnTo>
                  <a:pt x="123710" y="12"/>
                </a:lnTo>
                <a:lnTo>
                  <a:pt x="75628" y="9728"/>
                </a:lnTo>
                <a:lnTo>
                  <a:pt x="36296" y="36195"/>
                </a:lnTo>
                <a:lnTo>
                  <a:pt x="9740" y="75450"/>
                </a:lnTo>
                <a:lnTo>
                  <a:pt x="0" y="123494"/>
                </a:lnTo>
                <a:lnTo>
                  <a:pt x="9740" y="171564"/>
                </a:lnTo>
                <a:lnTo>
                  <a:pt x="36296" y="210820"/>
                </a:lnTo>
                <a:lnTo>
                  <a:pt x="75628" y="237286"/>
                </a:lnTo>
                <a:lnTo>
                  <a:pt x="123710" y="246989"/>
                </a:lnTo>
                <a:lnTo>
                  <a:pt x="238823" y="246989"/>
                </a:lnTo>
                <a:lnTo>
                  <a:pt x="238823" y="203530"/>
                </a:lnTo>
                <a:lnTo>
                  <a:pt x="207429" y="197129"/>
                </a:lnTo>
                <a:lnTo>
                  <a:pt x="181724" y="179705"/>
                </a:lnTo>
                <a:lnTo>
                  <a:pt x="164350" y="153962"/>
                </a:lnTo>
                <a:lnTo>
                  <a:pt x="157975" y="122542"/>
                </a:lnTo>
                <a:lnTo>
                  <a:pt x="164363" y="91198"/>
                </a:lnTo>
                <a:lnTo>
                  <a:pt x="181749" y="65608"/>
                </a:lnTo>
                <a:lnTo>
                  <a:pt x="207530" y="48361"/>
                </a:lnTo>
                <a:lnTo>
                  <a:pt x="239064" y="42037"/>
                </a:lnTo>
                <a:lnTo>
                  <a:pt x="258483" y="44411"/>
                </a:lnTo>
                <a:lnTo>
                  <a:pt x="275844" y="51041"/>
                </a:lnTo>
                <a:lnTo>
                  <a:pt x="290817" y="61201"/>
                </a:lnTo>
                <a:lnTo>
                  <a:pt x="303085" y="74142"/>
                </a:lnTo>
                <a:lnTo>
                  <a:pt x="436664" y="246989"/>
                </a:lnTo>
                <a:lnTo>
                  <a:pt x="622452" y="246989"/>
                </a:lnTo>
                <a:close/>
              </a:path>
              <a:path w="3090544" h="253365">
                <a:moveTo>
                  <a:pt x="1268044" y="248894"/>
                </a:moveTo>
                <a:lnTo>
                  <a:pt x="1244193" y="218249"/>
                </a:lnTo>
                <a:lnTo>
                  <a:pt x="1210106" y="174459"/>
                </a:lnTo>
                <a:lnTo>
                  <a:pt x="1146378" y="92595"/>
                </a:lnTo>
                <a:lnTo>
                  <a:pt x="1074293" y="0"/>
                </a:lnTo>
                <a:lnTo>
                  <a:pt x="1023289" y="0"/>
                </a:lnTo>
                <a:lnTo>
                  <a:pt x="1023289" y="174459"/>
                </a:lnTo>
                <a:lnTo>
                  <a:pt x="894892" y="174459"/>
                </a:lnTo>
                <a:lnTo>
                  <a:pt x="960107" y="92595"/>
                </a:lnTo>
                <a:lnTo>
                  <a:pt x="1023289" y="174459"/>
                </a:lnTo>
                <a:lnTo>
                  <a:pt x="1023289" y="0"/>
                </a:lnTo>
                <a:lnTo>
                  <a:pt x="866051" y="0"/>
                </a:lnTo>
                <a:lnTo>
                  <a:pt x="906818" y="52743"/>
                </a:lnTo>
                <a:lnTo>
                  <a:pt x="746315" y="248894"/>
                </a:lnTo>
                <a:lnTo>
                  <a:pt x="839660" y="248894"/>
                </a:lnTo>
                <a:lnTo>
                  <a:pt x="864831" y="218249"/>
                </a:lnTo>
                <a:lnTo>
                  <a:pt x="1057160" y="218249"/>
                </a:lnTo>
                <a:lnTo>
                  <a:pt x="1080795" y="248894"/>
                </a:lnTo>
                <a:lnTo>
                  <a:pt x="1268044" y="248894"/>
                </a:lnTo>
                <a:close/>
              </a:path>
              <a:path w="3090544" h="253365">
                <a:moveTo>
                  <a:pt x="1740636" y="125158"/>
                </a:moveTo>
                <a:lnTo>
                  <a:pt x="1735315" y="86347"/>
                </a:lnTo>
                <a:lnTo>
                  <a:pt x="1706829" y="43764"/>
                </a:lnTo>
                <a:lnTo>
                  <a:pt x="1654098" y="13538"/>
                </a:lnTo>
                <a:lnTo>
                  <a:pt x="1604657" y="3365"/>
                </a:lnTo>
                <a:lnTo>
                  <a:pt x="1585315" y="2298"/>
                </a:lnTo>
                <a:lnTo>
                  <a:pt x="1585315" y="124942"/>
                </a:lnTo>
                <a:lnTo>
                  <a:pt x="1580108" y="158673"/>
                </a:lnTo>
                <a:lnTo>
                  <a:pt x="1564487" y="183870"/>
                </a:lnTo>
                <a:lnTo>
                  <a:pt x="1538516" y="199644"/>
                </a:lnTo>
                <a:lnTo>
                  <a:pt x="1502232" y="205105"/>
                </a:lnTo>
                <a:lnTo>
                  <a:pt x="1458353" y="205105"/>
                </a:lnTo>
                <a:lnTo>
                  <a:pt x="1458353" y="43764"/>
                </a:lnTo>
                <a:lnTo>
                  <a:pt x="1502232" y="43764"/>
                </a:lnTo>
                <a:lnTo>
                  <a:pt x="1538414" y="49377"/>
                </a:lnTo>
                <a:lnTo>
                  <a:pt x="1564398" y="65506"/>
                </a:lnTo>
                <a:lnTo>
                  <a:pt x="1580070" y="91059"/>
                </a:lnTo>
                <a:lnTo>
                  <a:pt x="1585315" y="124942"/>
                </a:lnTo>
                <a:lnTo>
                  <a:pt x="1585315" y="2298"/>
                </a:lnTo>
                <a:lnTo>
                  <a:pt x="1543723" y="0"/>
                </a:lnTo>
                <a:lnTo>
                  <a:pt x="1301597" y="0"/>
                </a:lnTo>
                <a:lnTo>
                  <a:pt x="1301597" y="248894"/>
                </a:lnTo>
                <a:lnTo>
                  <a:pt x="1543723" y="248894"/>
                </a:lnTo>
                <a:lnTo>
                  <a:pt x="1604314" y="245668"/>
                </a:lnTo>
                <a:lnTo>
                  <a:pt x="1653654" y="235839"/>
                </a:lnTo>
                <a:lnTo>
                  <a:pt x="1691855" y="219138"/>
                </a:lnTo>
                <a:lnTo>
                  <a:pt x="1735251" y="164058"/>
                </a:lnTo>
                <a:lnTo>
                  <a:pt x="1740636" y="125158"/>
                </a:lnTo>
                <a:close/>
              </a:path>
              <a:path w="3090544" h="253365">
                <a:moveTo>
                  <a:pt x="2277529" y="248894"/>
                </a:moveTo>
                <a:lnTo>
                  <a:pt x="2206523" y="157530"/>
                </a:lnTo>
                <a:lnTo>
                  <a:pt x="2231339" y="145008"/>
                </a:lnTo>
                <a:lnTo>
                  <a:pt x="2249703" y="127965"/>
                </a:lnTo>
                <a:lnTo>
                  <a:pt x="2261095" y="106921"/>
                </a:lnTo>
                <a:lnTo>
                  <a:pt x="2265019" y="82397"/>
                </a:lnTo>
                <a:lnTo>
                  <a:pt x="2258149" y="50393"/>
                </a:lnTo>
                <a:lnTo>
                  <a:pt x="2252942" y="43802"/>
                </a:lnTo>
                <a:lnTo>
                  <a:pt x="2237448" y="24193"/>
                </a:lnTo>
                <a:lnTo>
                  <a:pt x="2202789" y="6502"/>
                </a:lnTo>
                <a:lnTo>
                  <a:pt x="2154047" y="0"/>
                </a:lnTo>
                <a:lnTo>
                  <a:pt x="1820545" y="0"/>
                </a:lnTo>
                <a:lnTo>
                  <a:pt x="1820545" y="248894"/>
                </a:lnTo>
                <a:lnTo>
                  <a:pt x="1977072" y="248894"/>
                </a:lnTo>
                <a:lnTo>
                  <a:pt x="1977072" y="43802"/>
                </a:lnTo>
                <a:lnTo>
                  <a:pt x="2047989" y="43802"/>
                </a:lnTo>
                <a:lnTo>
                  <a:pt x="2073948" y="47777"/>
                </a:lnTo>
                <a:lnTo>
                  <a:pt x="2091486" y="58178"/>
                </a:lnTo>
                <a:lnTo>
                  <a:pt x="2101392" y="72783"/>
                </a:lnTo>
                <a:lnTo>
                  <a:pt x="2104517" y="89331"/>
                </a:lnTo>
                <a:lnTo>
                  <a:pt x="2098624" y="111201"/>
                </a:lnTo>
                <a:lnTo>
                  <a:pt x="2083714" y="127012"/>
                </a:lnTo>
                <a:lnTo>
                  <a:pt x="2063915" y="136613"/>
                </a:lnTo>
                <a:lnTo>
                  <a:pt x="2043353" y="139852"/>
                </a:lnTo>
                <a:lnTo>
                  <a:pt x="2022157" y="139852"/>
                </a:lnTo>
                <a:lnTo>
                  <a:pt x="2081834" y="248894"/>
                </a:lnTo>
                <a:lnTo>
                  <a:pt x="2277529" y="248894"/>
                </a:lnTo>
                <a:close/>
              </a:path>
              <a:path w="3090544" h="253365">
                <a:moveTo>
                  <a:pt x="2523629" y="12"/>
                </a:moveTo>
                <a:lnTo>
                  <a:pt x="2366886" y="12"/>
                </a:lnTo>
                <a:lnTo>
                  <a:pt x="2366886" y="248894"/>
                </a:lnTo>
                <a:lnTo>
                  <a:pt x="2523629" y="248894"/>
                </a:lnTo>
                <a:lnTo>
                  <a:pt x="2523629" y="12"/>
                </a:lnTo>
                <a:close/>
              </a:path>
              <a:path w="3090544" h="253365">
                <a:moveTo>
                  <a:pt x="3090049" y="248894"/>
                </a:moveTo>
                <a:lnTo>
                  <a:pt x="3066224" y="218249"/>
                </a:lnTo>
                <a:lnTo>
                  <a:pt x="3032163" y="174459"/>
                </a:lnTo>
                <a:lnTo>
                  <a:pt x="2968498" y="92595"/>
                </a:lnTo>
                <a:lnTo>
                  <a:pt x="2896476" y="0"/>
                </a:lnTo>
                <a:lnTo>
                  <a:pt x="2845473" y="0"/>
                </a:lnTo>
                <a:lnTo>
                  <a:pt x="2845473" y="174459"/>
                </a:lnTo>
                <a:lnTo>
                  <a:pt x="2716720" y="174459"/>
                </a:lnTo>
                <a:lnTo>
                  <a:pt x="2782201" y="92595"/>
                </a:lnTo>
                <a:lnTo>
                  <a:pt x="2845473" y="174459"/>
                </a:lnTo>
                <a:lnTo>
                  <a:pt x="2845473" y="0"/>
                </a:lnTo>
                <a:lnTo>
                  <a:pt x="2688132" y="0"/>
                </a:lnTo>
                <a:lnTo>
                  <a:pt x="2728988" y="52743"/>
                </a:lnTo>
                <a:lnTo>
                  <a:pt x="2568397" y="248894"/>
                </a:lnTo>
                <a:lnTo>
                  <a:pt x="2661729" y="248894"/>
                </a:lnTo>
                <a:lnTo>
                  <a:pt x="2686913" y="218249"/>
                </a:lnTo>
                <a:lnTo>
                  <a:pt x="2879267" y="218249"/>
                </a:lnTo>
                <a:lnTo>
                  <a:pt x="2902902" y="248894"/>
                </a:lnTo>
                <a:lnTo>
                  <a:pt x="3090049" y="248894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en-A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69" r:id="rId1"/>
    <p:sldLayoutId id="2147483770" r:id="rId2"/>
    <p:sldLayoutId id="2147483771" r:id="rId3"/>
    <p:sldLayoutId id="2147483772" r:id="rId4"/>
    <p:sldLayoutId id="2147483773" r:id="rId5"/>
    <p:sldLayoutId id="2147483774" r:id="rId6"/>
    <p:sldLayoutId id="2147483775" r:id="rId7"/>
    <p:sldLayoutId id="2147483756" r:id="rId8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>
          <a:solidFill>
            <a:schemeClr val="tx2"/>
          </a:solidFill>
          <a:latin typeface="Calibri" panose="020F0502020204030204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>
          <a:solidFill>
            <a:schemeClr val="tx2"/>
          </a:solidFill>
          <a:latin typeface="Calibri" panose="020F0502020204030204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>
          <a:solidFill>
            <a:schemeClr val="tx2"/>
          </a:solidFill>
          <a:latin typeface="Calibri" panose="020F0502020204030204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>
          <a:solidFill>
            <a:schemeClr val="tx2"/>
          </a:solidFill>
          <a:latin typeface="Calibri" panose="020F0502020204030204" pitchFamily="34" charset="0"/>
        </a:defRPr>
      </a:lvl5pPr>
      <a:lvl6pPr marL="457200" algn="ctr" rtl="0" eaLnBrk="0" fontAlgn="base" hangingPunct="0">
        <a:spcBef>
          <a:spcPct val="0"/>
        </a:spcBef>
        <a:spcAft>
          <a:spcPct val="0"/>
        </a:spcAft>
        <a:defRPr>
          <a:solidFill>
            <a:schemeClr val="tx2"/>
          </a:solidFill>
          <a:latin typeface="Calibri" panose="020F0502020204030204" pitchFamily="34" charset="0"/>
        </a:defRPr>
      </a:lvl6pPr>
      <a:lvl7pPr marL="914400" algn="ctr" rtl="0" eaLnBrk="0" fontAlgn="base" hangingPunct="0">
        <a:spcBef>
          <a:spcPct val="0"/>
        </a:spcBef>
        <a:spcAft>
          <a:spcPct val="0"/>
        </a:spcAft>
        <a:defRPr>
          <a:solidFill>
            <a:schemeClr val="tx2"/>
          </a:solidFill>
          <a:latin typeface="Calibri" panose="020F0502020204030204" pitchFamily="34" charset="0"/>
        </a:defRPr>
      </a:lvl7pPr>
      <a:lvl8pPr marL="1371600" algn="ctr" rtl="0" eaLnBrk="0" fontAlgn="base" hangingPunct="0">
        <a:spcBef>
          <a:spcPct val="0"/>
        </a:spcBef>
        <a:spcAft>
          <a:spcPct val="0"/>
        </a:spcAft>
        <a:defRPr>
          <a:solidFill>
            <a:schemeClr val="tx2"/>
          </a:solidFill>
          <a:latin typeface="Calibri" panose="020F0502020204030204" pitchFamily="34" charset="0"/>
        </a:defRPr>
      </a:lvl8pPr>
      <a:lvl9pPr marL="1828800" algn="ctr" rtl="0" eaLnBrk="0" fontAlgn="base" hangingPunct="0">
        <a:spcBef>
          <a:spcPct val="0"/>
        </a:spcBef>
        <a:spcAft>
          <a:spcPct val="0"/>
        </a:spcAft>
        <a:defRPr>
          <a:solidFill>
            <a:schemeClr val="tx2"/>
          </a:solidFill>
          <a:latin typeface="Calibri" panose="020F0502020204030204" pitchFamily="34" charset="0"/>
        </a:defRPr>
      </a:lvl9pPr>
    </p:titleStyle>
    <p:bodyStyle>
      <a:lvl1pPr algn="l" rtl="0" eaLnBrk="0" fontAlgn="base" hangingPunct="0">
        <a:spcBef>
          <a:spcPct val="20000"/>
        </a:spcBef>
        <a:spcAft>
          <a:spcPct val="0"/>
        </a:spcAft>
        <a:defRPr>
          <a:solidFill>
            <a:schemeClr val="tx1"/>
          </a:solidFill>
          <a:latin typeface="Helvetica" pitchFamily="2" charset="0"/>
          <a:ea typeface="+mn-ea"/>
          <a:cs typeface="+mn-cs"/>
        </a:defRPr>
      </a:lvl1pPr>
      <a:lvl2pPr marL="457200" algn="l" rtl="0" eaLnBrk="0" fontAlgn="base" hangingPunct="0">
        <a:spcBef>
          <a:spcPct val="20000"/>
        </a:spcBef>
        <a:spcAft>
          <a:spcPct val="0"/>
        </a:spcAft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0" fontAlgn="base" hangingPunct="0">
        <a:spcBef>
          <a:spcPct val="20000"/>
        </a:spcBef>
        <a:spcAft>
          <a:spcPct val="0"/>
        </a:spcAft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0" fontAlgn="base" hangingPunct="0">
        <a:spcBef>
          <a:spcPct val="20000"/>
        </a:spcBef>
        <a:spcAft>
          <a:spcPct val="0"/>
        </a:spcAft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0" fontAlgn="base" hangingPunct="0">
        <a:spcBef>
          <a:spcPct val="20000"/>
        </a:spcBef>
        <a:spcAft>
          <a:spcPct val="0"/>
        </a:spcAft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170" name="Predmet 1" hidden="1">
            <a:extLst>
              <a:ext uri="{FF2B5EF4-FFF2-40B4-BE49-F238E27FC236}">
                <a16:creationId xmlns:a16="http://schemas.microsoft.com/office/drawing/2014/main" id="{88559E7A-0915-37C4-A3D5-39208613BC4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7170" name="Predmet 1" hidden="1">
                        <a:extLst>
                          <a:ext uri="{FF2B5EF4-FFF2-40B4-BE49-F238E27FC236}">
                            <a16:creationId xmlns:a16="http://schemas.microsoft.com/office/drawing/2014/main" id="{88559E7A-0915-37C4-A3D5-39208613BC4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171" name="Holder 3">
            <a:extLst>
              <a:ext uri="{FF2B5EF4-FFF2-40B4-BE49-F238E27FC236}">
                <a16:creationId xmlns:a16="http://schemas.microsoft.com/office/drawing/2014/main" id="{11EED144-9D67-94DF-8355-A1ACB2931689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1004888" y="2601913"/>
            <a:ext cx="18094325" cy="249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endParaRPr lang="sl-SI" altLang="sl-SI"/>
          </a:p>
        </p:txBody>
      </p:sp>
      <p:grpSp>
        <p:nvGrpSpPr>
          <p:cNvPr id="7172" name="Gruppo 7">
            <a:extLst>
              <a:ext uri="{FF2B5EF4-FFF2-40B4-BE49-F238E27FC236}">
                <a16:creationId xmlns:a16="http://schemas.microsoft.com/office/drawing/2014/main" id="{B1D1FC05-6562-48F9-EDF1-AAF4B192E022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16452850" y="663575"/>
            <a:ext cx="3089275" cy="254000"/>
            <a:chOff x="16453169" y="664264"/>
            <a:chExt cx="3089093" cy="253390"/>
          </a:xfrm>
        </p:grpSpPr>
        <p:sp>
          <p:nvSpPr>
            <p:cNvPr id="7174" name="object 2">
              <a:extLst>
                <a:ext uri="{FF2B5EF4-FFF2-40B4-BE49-F238E27FC236}">
                  <a16:creationId xmlns:a16="http://schemas.microsoft.com/office/drawing/2014/main" id="{51D3879A-808A-F5FB-02B1-618B23FCE6B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453169" y="664289"/>
              <a:ext cx="622300" cy="253365"/>
            </a:xfrm>
            <a:custGeom>
              <a:avLst/>
              <a:gdLst>
                <a:gd name="T0" fmla="*/ 311592 w 622300"/>
                <a:gd name="T1" fmla="*/ 161754 h 253365"/>
                <a:gd name="T2" fmla="*/ 293830 w 622300"/>
                <a:gd name="T3" fmla="*/ 165308 h 253365"/>
                <a:gd name="T4" fmla="*/ 279439 w 622300"/>
                <a:gd name="T5" fmla="*/ 175022 h 253365"/>
                <a:gd name="T6" fmla="*/ 269795 w 622300"/>
                <a:gd name="T7" fmla="*/ 189473 h 253365"/>
                <a:gd name="T8" fmla="*/ 266274 w 622300"/>
                <a:gd name="T9" fmla="*/ 207239 h 253365"/>
                <a:gd name="T10" fmla="*/ 269795 w 622300"/>
                <a:gd name="T11" fmla="*/ 224929 h 253365"/>
                <a:gd name="T12" fmla="*/ 279439 w 622300"/>
                <a:gd name="T13" fmla="*/ 239397 h 253365"/>
                <a:gd name="T14" fmla="*/ 293830 w 622300"/>
                <a:gd name="T15" fmla="*/ 249162 h 253365"/>
                <a:gd name="T16" fmla="*/ 311592 w 622300"/>
                <a:gd name="T17" fmla="*/ 252746 h 253365"/>
                <a:gd name="T18" fmla="*/ 329313 w 622300"/>
                <a:gd name="T19" fmla="*/ 249162 h 253365"/>
                <a:gd name="T20" fmla="*/ 343675 w 622300"/>
                <a:gd name="T21" fmla="*/ 239397 h 253365"/>
                <a:gd name="T22" fmla="*/ 353301 w 622300"/>
                <a:gd name="T23" fmla="*/ 224929 h 253365"/>
                <a:gd name="T24" fmla="*/ 356816 w 622300"/>
                <a:gd name="T25" fmla="*/ 207239 h 253365"/>
                <a:gd name="T26" fmla="*/ 353301 w 622300"/>
                <a:gd name="T27" fmla="*/ 189473 h 253365"/>
                <a:gd name="T28" fmla="*/ 343675 w 622300"/>
                <a:gd name="T29" fmla="*/ 175022 h 253365"/>
                <a:gd name="T30" fmla="*/ 329313 w 622300"/>
                <a:gd name="T31" fmla="*/ 165308 h 253365"/>
                <a:gd name="T32" fmla="*/ 311592 w 622300"/>
                <a:gd name="T33" fmla="*/ 161754 h 253365"/>
                <a:gd name="T34" fmla="*/ 377433 w 622300"/>
                <a:gd name="T35" fmla="*/ 0 h 253365"/>
                <a:gd name="T36" fmla="*/ 123650 w 622300"/>
                <a:gd name="T37" fmla="*/ 0 h 253365"/>
                <a:gd name="T38" fmla="*/ 75590 w 622300"/>
                <a:gd name="T39" fmla="*/ 9704 h 253365"/>
                <a:gd name="T40" fmla="*/ 36279 w 622300"/>
                <a:gd name="T41" fmla="*/ 36161 h 253365"/>
                <a:gd name="T42" fmla="*/ 9740 w 622300"/>
                <a:gd name="T43" fmla="*/ 75387 h 253365"/>
                <a:gd name="T44" fmla="*/ 0 w 622300"/>
                <a:gd name="T45" fmla="*/ 123399 h 253365"/>
                <a:gd name="T46" fmla="*/ 9740 w 622300"/>
                <a:gd name="T47" fmla="*/ 171457 h 253365"/>
                <a:gd name="T48" fmla="*/ 36279 w 622300"/>
                <a:gd name="T49" fmla="*/ 210693 h 253365"/>
                <a:gd name="T50" fmla="*/ 75590 w 622300"/>
                <a:gd name="T51" fmla="*/ 237143 h 253365"/>
                <a:gd name="T52" fmla="*/ 123650 w 622300"/>
                <a:gd name="T53" fmla="*/ 246840 h 253365"/>
                <a:gd name="T54" fmla="*/ 238694 w 622300"/>
                <a:gd name="T55" fmla="*/ 246840 h 253365"/>
                <a:gd name="T56" fmla="*/ 238694 w 622300"/>
                <a:gd name="T57" fmla="*/ 203407 h 253365"/>
                <a:gd name="T58" fmla="*/ 207325 w 622300"/>
                <a:gd name="T59" fmla="*/ 197009 h 253365"/>
                <a:gd name="T60" fmla="*/ 181631 w 622300"/>
                <a:gd name="T61" fmla="*/ 179601 h 253365"/>
                <a:gd name="T62" fmla="*/ 164268 w 622300"/>
                <a:gd name="T63" fmla="*/ 153861 h 253365"/>
                <a:gd name="T64" fmla="*/ 157890 w 622300"/>
                <a:gd name="T65" fmla="*/ 122467 h 253365"/>
                <a:gd name="T66" fmla="*/ 164272 w 622300"/>
                <a:gd name="T67" fmla="*/ 91136 h 253365"/>
                <a:gd name="T68" fmla="*/ 181662 w 622300"/>
                <a:gd name="T69" fmla="*/ 65555 h 253365"/>
                <a:gd name="T70" fmla="*/ 207427 w 622300"/>
                <a:gd name="T71" fmla="*/ 48311 h 253365"/>
                <a:gd name="T72" fmla="*/ 238935 w 622300"/>
                <a:gd name="T73" fmla="*/ 41988 h 253365"/>
                <a:gd name="T74" fmla="*/ 459889 w 622300"/>
                <a:gd name="T75" fmla="*/ 41988 h 253365"/>
                <a:gd name="T76" fmla="*/ 443722 w 622300"/>
                <a:gd name="T77" fmla="*/ 25614 h 253365"/>
                <a:gd name="T78" fmla="*/ 413727 w 622300"/>
                <a:gd name="T79" fmla="*/ 7044 h 253365"/>
                <a:gd name="T80" fmla="*/ 377433 w 622300"/>
                <a:gd name="T81" fmla="*/ 0 h 253365"/>
                <a:gd name="T82" fmla="*/ 459889 w 622300"/>
                <a:gd name="T83" fmla="*/ 41988 h 253365"/>
                <a:gd name="T84" fmla="*/ 238935 w 622300"/>
                <a:gd name="T85" fmla="*/ 41988 h 253365"/>
                <a:gd name="T86" fmla="*/ 258346 w 622300"/>
                <a:gd name="T87" fmla="*/ 44361 h 253365"/>
                <a:gd name="T88" fmla="*/ 275699 w 622300"/>
                <a:gd name="T89" fmla="*/ 50990 h 253365"/>
                <a:gd name="T90" fmla="*/ 290667 w 622300"/>
                <a:gd name="T91" fmla="*/ 61142 h 253365"/>
                <a:gd name="T92" fmla="*/ 302922 w 622300"/>
                <a:gd name="T93" fmla="*/ 74081 h 253365"/>
                <a:gd name="T94" fmla="*/ 436447 w 622300"/>
                <a:gd name="T95" fmla="*/ 246840 h 253365"/>
                <a:gd name="T96" fmla="*/ 622138 w 622300"/>
                <a:gd name="T97" fmla="*/ 246840 h 253365"/>
                <a:gd name="T98" fmla="*/ 493691 w 622300"/>
                <a:gd name="T99" fmla="*/ 81934 h 253365"/>
                <a:gd name="T100" fmla="*/ 469636 w 622300"/>
                <a:gd name="T101" fmla="*/ 51860 h 253365"/>
                <a:gd name="T102" fmla="*/ 459889 w 622300"/>
                <a:gd name="T103" fmla="*/ 41988 h 2533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622300" h="253365">
                  <a:moveTo>
                    <a:pt x="311592" y="161754"/>
                  </a:moveTo>
                  <a:lnTo>
                    <a:pt x="293830" y="165308"/>
                  </a:lnTo>
                  <a:lnTo>
                    <a:pt x="279439" y="175022"/>
                  </a:lnTo>
                  <a:lnTo>
                    <a:pt x="269795" y="189473"/>
                  </a:lnTo>
                  <a:lnTo>
                    <a:pt x="266274" y="207239"/>
                  </a:lnTo>
                  <a:lnTo>
                    <a:pt x="269795" y="224929"/>
                  </a:lnTo>
                  <a:lnTo>
                    <a:pt x="279439" y="239397"/>
                  </a:lnTo>
                  <a:lnTo>
                    <a:pt x="293830" y="249162"/>
                  </a:lnTo>
                  <a:lnTo>
                    <a:pt x="311592" y="252746"/>
                  </a:lnTo>
                  <a:lnTo>
                    <a:pt x="329313" y="249162"/>
                  </a:lnTo>
                  <a:lnTo>
                    <a:pt x="343675" y="239397"/>
                  </a:lnTo>
                  <a:lnTo>
                    <a:pt x="353301" y="224929"/>
                  </a:lnTo>
                  <a:lnTo>
                    <a:pt x="356816" y="207239"/>
                  </a:lnTo>
                  <a:lnTo>
                    <a:pt x="353301" y="189473"/>
                  </a:lnTo>
                  <a:lnTo>
                    <a:pt x="343675" y="175022"/>
                  </a:lnTo>
                  <a:lnTo>
                    <a:pt x="329313" y="165308"/>
                  </a:lnTo>
                  <a:lnTo>
                    <a:pt x="311592" y="161754"/>
                  </a:lnTo>
                  <a:close/>
                </a:path>
                <a:path w="622300" h="253365">
                  <a:moveTo>
                    <a:pt x="377433" y="0"/>
                  </a:moveTo>
                  <a:lnTo>
                    <a:pt x="123650" y="0"/>
                  </a:lnTo>
                  <a:lnTo>
                    <a:pt x="75590" y="9704"/>
                  </a:lnTo>
                  <a:lnTo>
                    <a:pt x="36279" y="36161"/>
                  </a:lnTo>
                  <a:lnTo>
                    <a:pt x="9740" y="75387"/>
                  </a:lnTo>
                  <a:lnTo>
                    <a:pt x="0" y="123399"/>
                  </a:lnTo>
                  <a:lnTo>
                    <a:pt x="9740" y="171457"/>
                  </a:lnTo>
                  <a:lnTo>
                    <a:pt x="36279" y="210693"/>
                  </a:lnTo>
                  <a:lnTo>
                    <a:pt x="75590" y="237143"/>
                  </a:lnTo>
                  <a:lnTo>
                    <a:pt x="123650" y="246840"/>
                  </a:lnTo>
                  <a:lnTo>
                    <a:pt x="238694" y="246840"/>
                  </a:lnTo>
                  <a:lnTo>
                    <a:pt x="238694" y="203407"/>
                  </a:lnTo>
                  <a:lnTo>
                    <a:pt x="207325" y="197009"/>
                  </a:lnTo>
                  <a:lnTo>
                    <a:pt x="181631" y="179601"/>
                  </a:lnTo>
                  <a:lnTo>
                    <a:pt x="164268" y="153861"/>
                  </a:lnTo>
                  <a:lnTo>
                    <a:pt x="157890" y="122467"/>
                  </a:lnTo>
                  <a:lnTo>
                    <a:pt x="164272" y="91136"/>
                  </a:lnTo>
                  <a:lnTo>
                    <a:pt x="181662" y="65555"/>
                  </a:lnTo>
                  <a:lnTo>
                    <a:pt x="207427" y="48311"/>
                  </a:lnTo>
                  <a:lnTo>
                    <a:pt x="238935" y="41988"/>
                  </a:lnTo>
                  <a:lnTo>
                    <a:pt x="459889" y="41988"/>
                  </a:lnTo>
                  <a:lnTo>
                    <a:pt x="443722" y="25614"/>
                  </a:lnTo>
                  <a:lnTo>
                    <a:pt x="413727" y="7044"/>
                  </a:lnTo>
                  <a:lnTo>
                    <a:pt x="377433" y="0"/>
                  </a:lnTo>
                  <a:close/>
                </a:path>
                <a:path w="622300" h="253365">
                  <a:moveTo>
                    <a:pt x="459889" y="41988"/>
                  </a:moveTo>
                  <a:lnTo>
                    <a:pt x="238935" y="41988"/>
                  </a:lnTo>
                  <a:lnTo>
                    <a:pt x="258346" y="44361"/>
                  </a:lnTo>
                  <a:lnTo>
                    <a:pt x="275699" y="50990"/>
                  </a:lnTo>
                  <a:lnTo>
                    <a:pt x="290667" y="61142"/>
                  </a:lnTo>
                  <a:lnTo>
                    <a:pt x="302922" y="74081"/>
                  </a:lnTo>
                  <a:lnTo>
                    <a:pt x="436447" y="246840"/>
                  </a:lnTo>
                  <a:lnTo>
                    <a:pt x="622138" y="246840"/>
                  </a:lnTo>
                  <a:lnTo>
                    <a:pt x="493691" y="81934"/>
                  </a:lnTo>
                  <a:lnTo>
                    <a:pt x="469636" y="51860"/>
                  </a:lnTo>
                  <a:lnTo>
                    <a:pt x="459889" y="41988"/>
                  </a:lnTo>
                  <a:close/>
                </a:path>
              </a:pathLst>
            </a:custGeom>
            <a:solidFill>
              <a:srgbClr val="E3041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endParaRPr lang="en-AU"/>
            </a:p>
          </p:txBody>
        </p:sp>
        <p:sp>
          <p:nvSpPr>
            <p:cNvPr id="7175" name="object 3">
              <a:extLst>
                <a:ext uri="{FF2B5EF4-FFF2-40B4-BE49-F238E27FC236}">
                  <a16:creationId xmlns:a16="http://schemas.microsoft.com/office/drawing/2014/main" id="{D017A837-C671-8DF3-0279-24D0BCF13F2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199112" y="664264"/>
              <a:ext cx="2343150" cy="248920"/>
            </a:xfrm>
            <a:custGeom>
              <a:avLst/>
              <a:gdLst>
                <a:gd name="T0" fmla="*/ 1940872 w 2343150"/>
                <a:gd name="T1" fmla="*/ 0 h 248919"/>
                <a:gd name="T2" fmla="*/ 1821201 w 2343150"/>
                <a:gd name="T3" fmla="*/ 248767 h 248919"/>
                <a:gd name="T4" fmla="*/ 1939658 w 2343150"/>
                <a:gd name="T5" fmla="*/ 218150 h 248919"/>
                <a:gd name="T6" fmla="*/ 2284745 w 2343150"/>
                <a:gd name="T7" fmla="*/ 174382 h 248919"/>
                <a:gd name="T8" fmla="*/ 2034901 w 2343150"/>
                <a:gd name="T9" fmla="*/ 92552 h 248919"/>
                <a:gd name="T10" fmla="*/ 2149117 w 2343150"/>
                <a:gd name="T11" fmla="*/ 0 h 248919"/>
                <a:gd name="T12" fmla="*/ 2131914 w 2343150"/>
                <a:gd name="T13" fmla="*/ 218150 h 248919"/>
                <a:gd name="T14" fmla="*/ 2342598 w 2343150"/>
                <a:gd name="T15" fmla="*/ 248767 h 248919"/>
                <a:gd name="T16" fmla="*/ 2221101 w 2343150"/>
                <a:gd name="T17" fmla="*/ 92552 h 248919"/>
                <a:gd name="T18" fmla="*/ 2098145 w 2343150"/>
                <a:gd name="T19" fmla="*/ 174382 h 248919"/>
                <a:gd name="T20" fmla="*/ 2221101 w 2343150"/>
                <a:gd name="T21" fmla="*/ 92552 h 248919"/>
                <a:gd name="T22" fmla="*/ 1619783 w 2343150"/>
                <a:gd name="T23" fmla="*/ 0 h 248919"/>
                <a:gd name="T24" fmla="*/ 1776458 w 2343150"/>
                <a:gd name="T25" fmla="*/ 248767 h 248919"/>
                <a:gd name="T26" fmla="*/ 797033 w 2343150"/>
                <a:gd name="T27" fmla="*/ 0 h 248919"/>
                <a:gd name="T28" fmla="*/ 555019 w 2343150"/>
                <a:gd name="T29" fmla="*/ 248767 h 248919"/>
                <a:gd name="T30" fmla="*/ 857584 w 2343150"/>
                <a:gd name="T31" fmla="*/ 245550 h 248919"/>
                <a:gd name="T32" fmla="*/ 945085 w 2343150"/>
                <a:gd name="T33" fmla="*/ 219027 h 248919"/>
                <a:gd name="T34" fmla="*/ 711695 w 2343150"/>
                <a:gd name="T35" fmla="*/ 204998 h 248919"/>
                <a:gd name="T36" fmla="*/ 960048 w 2343150"/>
                <a:gd name="T37" fmla="*/ 43747 h 248919"/>
                <a:gd name="T38" fmla="*/ 907339 w 2343150"/>
                <a:gd name="T39" fmla="*/ 13535 h 248919"/>
                <a:gd name="T40" fmla="*/ 797033 w 2343150"/>
                <a:gd name="T41" fmla="*/ 0 h 248919"/>
                <a:gd name="T42" fmla="*/ 755547 w 2343150"/>
                <a:gd name="T43" fmla="*/ 43747 h 248919"/>
                <a:gd name="T44" fmla="*/ 817681 w 2343150"/>
                <a:gd name="T45" fmla="*/ 65473 h 248919"/>
                <a:gd name="T46" fmla="*/ 838602 w 2343150"/>
                <a:gd name="T47" fmla="*/ 124886 h 248919"/>
                <a:gd name="T48" fmla="*/ 817780 w 2343150"/>
                <a:gd name="T49" fmla="*/ 183782 h 248919"/>
                <a:gd name="T50" fmla="*/ 755547 w 2343150"/>
                <a:gd name="T51" fmla="*/ 204998 h 248919"/>
                <a:gd name="T52" fmla="*/ 972234 w 2343150"/>
                <a:gd name="T53" fmla="*/ 195198 h 248919"/>
                <a:gd name="T54" fmla="*/ 993833 w 2343150"/>
                <a:gd name="T55" fmla="*/ 125095 h 248919"/>
                <a:gd name="T56" fmla="*/ 972453 w 2343150"/>
                <a:gd name="T57" fmla="*/ 54870 h 248919"/>
                <a:gd name="T58" fmla="*/ 327822 w 2343150"/>
                <a:gd name="T59" fmla="*/ 0 h 248919"/>
                <a:gd name="T60" fmla="*/ 160424 w 2343150"/>
                <a:gd name="T61" fmla="*/ 52720 h 248919"/>
                <a:gd name="T62" fmla="*/ 93295 w 2343150"/>
                <a:gd name="T63" fmla="*/ 248767 h 248919"/>
                <a:gd name="T64" fmla="*/ 497637 w 2343150"/>
                <a:gd name="T65" fmla="*/ 218150 h 248919"/>
                <a:gd name="T66" fmla="*/ 148508 w 2343150"/>
                <a:gd name="T67" fmla="*/ 174382 h 248919"/>
                <a:gd name="T68" fmla="*/ 399868 w 2343150"/>
                <a:gd name="T69" fmla="*/ 92552 h 248919"/>
                <a:gd name="T70" fmla="*/ 497637 w 2343150"/>
                <a:gd name="T71" fmla="*/ 218150 h 248919"/>
                <a:gd name="T72" fmla="*/ 334324 w 2343150"/>
                <a:gd name="T73" fmla="*/ 248767 h 248919"/>
                <a:gd name="T74" fmla="*/ 497637 w 2343150"/>
                <a:gd name="T75" fmla="*/ 218150 h 248919"/>
                <a:gd name="T76" fmla="*/ 213679 w 2343150"/>
                <a:gd name="T77" fmla="*/ 92552 h 248919"/>
                <a:gd name="T78" fmla="*/ 463567 w 2343150"/>
                <a:gd name="T79" fmla="*/ 174382 h 248919"/>
                <a:gd name="T80" fmla="*/ 1407056 w 2343150"/>
                <a:gd name="T81" fmla="*/ 0 h 248919"/>
                <a:gd name="T82" fmla="*/ 1073705 w 2343150"/>
                <a:gd name="T83" fmla="*/ 248767 h 248919"/>
                <a:gd name="T84" fmla="*/ 1230161 w 2343150"/>
                <a:gd name="T85" fmla="*/ 43789 h 248919"/>
                <a:gd name="T86" fmla="*/ 1490404 w 2343150"/>
                <a:gd name="T87" fmla="*/ 24190 h 248919"/>
                <a:gd name="T88" fmla="*/ 1407056 w 2343150"/>
                <a:gd name="T89" fmla="*/ 0 h 248919"/>
                <a:gd name="T90" fmla="*/ 1301038 w 2343150"/>
                <a:gd name="T91" fmla="*/ 43789 h 248919"/>
                <a:gd name="T92" fmla="*/ 1344517 w 2343150"/>
                <a:gd name="T93" fmla="*/ 58159 h 248919"/>
                <a:gd name="T94" fmla="*/ 1357550 w 2343150"/>
                <a:gd name="T95" fmla="*/ 89295 h 248919"/>
                <a:gd name="T96" fmla="*/ 1336753 w 2343150"/>
                <a:gd name="T97" fmla="*/ 126949 h 248919"/>
                <a:gd name="T98" fmla="*/ 1296410 w 2343150"/>
                <a:gd name="T99" fmla="*/ 139786 h 248919"/>
                <a:gd name="T100" fmla="*/ 1334880 w 2343150"/>
                <a:gd name="T101" fmla="*/ 248767 h 248919"/>
                <a:gd name="T102" fmla="*/ 1459505 w 2343150"/>
                <a:gd name="T103" fmla="*/ 157461 h 248919"/>
                <a:gd name="T104" fmla="*/ 1502658 w 2343150"/>
                <a:gd name="T105" fmla="*/ 127909 h 248919"/>
                <a:gd name="T106" fmla="*/ 1517964 w 2343150"/>
                <a:gd name="T107" fmla="*/ 82353 h 248919"/>
                <a:gd name="T108" fmla="*/ 1505890 w 2343150"/>
                <a:gd name="T109" fmla="*/ 43789 h 2489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343150" h="248919">
                  <a:moveTo>
                    <a:pt x="2149117" y="0"/>
                  </a:moveTo>
                  <a:lnTo>
                    <a:pt x="1940872" y="0"/>
                  </a:lnTo>
                  <a:lnTo>
                    <a:pt x="1981719" y="52720"/>
                  </a:lnTo>
                  <a:lnTo>
                    <a:pt x="1821201" y="248767"/>
                  </a:lnTo>
                  <a:lnTo>
                    <a:pt x="1914496" y="248767"/>
                  </a:lnTo>
                  <a:lnTo>
                    <a:pt x="1939658" y="218150"/>
                  </a:lnTo>
                  <a:lnTo>
                    <a:pt x="2318786" y="218150"/>
                  </a:lnTo>
                  <a:lnTo>
                    <a:pt x="2284745" y="174382"/>
                  </a:lnTo>
                  <a:lnTo>
                    <a:pt x="1969447" y="174382"/>
                  </a:lnTo>
                  <a:lnTo>
                    <a:pt x="2034901" y="92552"/>
                  </a:lnTo>
                  <a:lnTo>
                    <a:pt x="2221101" y="92552"/>
                  </a:lnTo>
                  <a:lnTo>
                    <a:pt x="2149117" y="0"/>
                  </a:lnTo>
                  <a:close/>
                </a:path>
                <a:path w="2343150" h="248919">
                  <a:moveTo>
                    <a:pt x="2318786" y="218150"/>
                  </a:moveTo>
                  <a:lnTo>
                    <a:pt x="2131914" y="218150"/>
                  </a:lnTo>
                  <a:lnTo>
                    <a:pt x="2155536" y="248767"/>
                  </a:lnTo>
                  <a:lnTo>
                    <a:pt x="2342598" y="248767"/>
                  </a:lnTo>
                  <a:lnTo>
                    <a:pt x="2318786" y="218150"/>
                  </a:lnTo>
                  <a:close/>
                </a:path>
                <a:path w="2343150" h="248919">
                  <a:moveTo>
                    <a:pt x="2221101" y="92552"/>
                  </a:moveTo>
                  <a:lnTo>
                    <a:pt x="2034901" y="92552"/>
                  </a:lnTo>
                  <a:lnTo>
                    <a:pt x="2098145" y="174382"/>
                  </a:lnTo>
                  <a:lnTo>
                    <a:pt x="2284745" y="174382"/>
                  </a:lnTo>
                  <a:lnTo>
                    <a:pt x="2221101" y="92552"/>
                  </a:lnTo>
                  <a:close/>
                </a:path>
                <a:path w="2343150" h="248919">
                  <a:moveTo>
                    <a:pt x="1776458" y="0"/>
                  </a:moveTo>
                  <a:lnTo>
                    <a:pt x="1619783" y="0"/>
                  </a:lnTo>
                  <a:lnTo>
                    <a:pt x="1619783" y="248767"/>
                  </a:lnTo>
                  <a:lnTo>
                    <a:pt x="1776458" y="248767"/>
                  </a:lnTo>
                  <a:lnTo>
                    <a:pt x="1776458" y="0"/>
                  </a:lnTo>
                  <a:close/>
                </a:path>
                <a:path w="2343150" h="248919">
                  <a:moveTo>
                    <a:pt x="797033" y="0"/>
                  </a:moveTo>
                  <a:lnTo>
                    <a:pt x="555019" y="0"/>
                  </a:lnTo>
                  <a:lnTo>
                    <a:pt x="555019" y="248767"/>
                  </a:lnTo>
                  <a:lnTo>
                    <a:pt x="797033" y="248767"/>
                  </a:lnTo>
                  <a:lnTo>
                    <a:pt x="857584" y="245550"/>
                  </a:lnTo>
                  <a:lnTo>
                    <a:pt x="906901" y="235724"/>
                  </a:lnTo>
                  <a:lnTo>
                    <a:pt x="945085" y="219027"/>
                  </a:lnTo>
                  <a:lnTo>
                    <a:pt x="961068" y="204998"/>
                  </a:lnTo>
                  <a:lnTo>
                    <a:pt x="711695" y="204998"/>
                  </a:lnTo>
                  <a:lnTo>
                    <a:pt x="711695" y="43747"/>
                  </a:lnTo>
                  <a:lnTo>
                    <a:pt x="960048" y="43747"/>
                  </a:lnTo>
                  <a:lnTo>
                    <a:pt x="945454" y="30660"/>
                  </a:lnTo>
                  <a:lnTo>
                    <a:pt x="907339" y="13535"/>
                  </a:lnTo>
                  <a:lnTo>
                    <a:pt x="857926" y="3361"/>
                  </a:lnTo>
                  <a:lnTo>
                    <a:pt x="797033" y="0"/>
                  </a:lnTo>
                  <a:close/>
                </a:path>
                <a:path w="2343150" h="248919">
                  <a:moveTo>
                    <a:pt x="960048" y="43747"/>
                  </a:moveTo>
                  <a:lnTo>
                    <a:pt x="755547" y="43747"/>
                  </a:lnTo>
                  <a:lnTo>
                    <a:pt x="791707" y="49358"/>
                  </a:lnTo>
                  <a:lnTo>
                    <a:pt x="817681" y="65473"/>
                  </a:lnTo>
                  <a:lnTo>
                    <a:pt x="833352" y="91009"/>
                  </a:lnTo>
                  <a:lnTo>
                    <a:pt x="838602" y="124886"/>
                  </a:lnTo>
                  <a:lnTo>
                    <a:pt x="833389" y="158598"/>
                  </a:lnTo>
                  <a:lnTo>
                    <a:pt x="817780" y="183782"/>
                  </a:lnTo>
                  <a:lnTo>
                    <a:pt x="791818" y="199546"/>
                  </a:lnTo>
                  <a:lnTo>
                    <a:pt x="755547" y="204998"/>
                  </a:lnTo>
                  <a:lnTo>
                    <a:pt x="961068" y="204998"/>
                  </a:lnTo>
                  <a:lnTo>
                    <a:pt x="972234" y="195198"/>
                  </a:lnTo>
                  <a:lnTo>
                    <a:pt x="988450" y="163974"/>
                  </a:lnTo>
                  <a:lnTo>
                    <a:pt x="993833" y="125095"/>
                  </a:lnTo>
                  <a:lnTo>
                    <a:pt x="988518" y="86303"/>
                  </a:lnTo>
                  <a:lnTo>
                    <a:pt x="972453" y="54870"/>
                  </a:lnTo>
                  <a:lnTo>
                    <a:pt x="960048" y="43747"/>
                  </a:lnTo>
                  <a:close/>
                </a:path>
                <a:path w="2343150" h="248919">
                  <a:moveTo>
                    <a:pt x="327822" y="0"/>
                  </a:moveTo>
                  <a:lnTo>
                    <a:pt x="119682" y="0"/>
                  </a:lnTo>
                  <a:lnTo>
                    <a:pt x="160424" y="52720"/>
                  </a:lnTo>
                  <a:lnTo>
                    <a:pt x="0" y="248767"/>
                  </a:lnTo>
                  <a:lnTo>
                    <a:pt x="93295" y="248767"/>
                  </a:lnTo>
                  <a:lnTo>
                    <a:pt x="118467" y="218150"/>
                  </a:lnTo>
                  <a:lnTo>
                    <a:pt x="497637" y="218150"/>
                  </a:lnTo>
                  <a:lnTo>
                    <a:pt x="463567" y="174382"/>
                  </a:lnTo>
                  <a:lnTo>
                    <a:pt x="148508" y="174382"/>
                  </a:lnTo>
                  <a:lnTo>
                    <a:pt x="213679" y="92552"/>
                  </a:lnTo>
                  <a:lnTo>
                    <a:pt x="399868" y="92552"/>
                  </a:lnTo>
                  <a:lnTo>
                    <a:pt x="327822" y="0"/>
                  </a:lnTo>
                  <a:close/>
                </a:path>
                <a:path w="2343150" h="248919">
                  <a:moveTo>
                    <a:pt x="497637" y="218150"/>
                  </a:moveTo>
                  <a:lnTo>
                    <a:pt x="310702" y="218150"/>
                  </a:lnTo>
                  <a:lnTo>
                    <a:pt x="334324" y="248767"/>
                  </a:lnTo>
                  <a:lnTo>
                    <a:pt x="521471" y="248767"/>
                  </a:lnTo>
                  <a:lnTo>
                    <a:pt x="497637" y="218150"/>
                  </a:lnTo>
                  <a:close/>
                </a:path>
                <a:path w="2343150" h="248919">
                  <a:moveTo>
                    <a:pt x="399868" y="92552"/>
                  </a:moveTo>
                  <a:lnTo>
                    <a:pt x="213679" y="92552"/>
                  </a:lnTo>
                  <a:lnTo>
                    <a:pt x="276850" y="174382"/>
                  </a:lnTo>
                  <a:lnTo>
                    <a:pt x="463567" y="174382"/>
                  </a:lnTo>
                  <a:lnTo>
                    <a:pt x="399868" y="92552"/>
                  </a:lnTo>
                  <a:close/>
                </a:path>
                <a:path w="2343150" h="248919">
                  <a:moveTo>
                    <a:pt x="1407056" y="0"/>
                  </a:moveTo>
                  <a:lnTo>
                    <a:pt x="1073705" y="0"/>
                  </a:lnTo>
                  <a:lnTo>
                    <a:pt x="1073705" y="248767"/>
                  </a:lnTo>
                  <a:lnTo>
                    <a:pt x="1230161" y="248767"/>
                  </a:lnTo>
                  <a:lnTo>
                    <a:pt x="1230161" y="43789"/>
                  </a:lnTo>
                  <a:lnTo>
                    <a:pt x="1505890" y="43789"/>
                  </a:lnTo>
                  <a:lnTo>
                    <a:pt x="1490404" y="24190"/>
                  </a:lnTo>
                  <a:lnTo>
                    <a:pt x="1455767" y="6497"/>
                  </a:lnTo>
                  <a:lnTo>
                    <a:pt x="1407056" y="0"/>
                  </a:lnTo>
                  <a:close/>
                </a:path>
                <a:path w="2343150" h="248919">
                  <a:moveTo>
                    <a:pt x="1505890" y="43789"/>
                  </a:moveTo>
                  <a:lnTo>
                    <a:pt x="1301038" y="43789"/>
                  </a:lnTo>
                  <a:lnTo>
                    <a:pt x="1326995" y="47755"/>
                  </a:lnTo>
                  <a:lnTo>
                    <a:pt x="1344517" y="58159"/>
                  </a:lnTo>
                  <a:lnTo>
                    <a:pt x="1354429" y="72754"/>
                  </a:lnTo>
                  <a:lnTo>
                    <a:pt x="1357550" y="89295"/>
                  </a:lnTo>
                  <a:lnTo>
                    <a:pt x="1351662" y="111143"/>
                  </a:lnTo>
                  <a:lnTo>
                    <a:pt x="1336753" y="126949"/>
                  </a:lnTo>
                  <a:lnTo>
                    <a:pt x="1316958" y="136550"/>
                  </a:lnTo>
                  <a:lnTo>
                    <a:pt x="1296410" y="139786"/>
                  </a:lnTo>
                  <a:lnTo>
                    <a:pt x="1275217" y="139786"/>
                  </a:lnTo>
                  <a:lnTo>
                    <a:pt x="1334880" y="248767"/>
                  </a:lnTo>
                  <a:lnTo>
                    <a:pt x="1530476" y="248767"/>
                  </a:lnTo>
                  <a:lnTo>
                    <a:pt x="1459505" y="157461"/>
                  </a:lnTo>
                  <a:lnTo>
                    <a:pt x="1484303" y="144945"/>
                  </a:lnTo>
                  <a:lnTo>
                    <a:pt x="1502658" y="127909"/>
                  </a:lnTo>
                  <a:lnTo>
                    <a:pt x="1514051" y="106873"/>
                  </a:lnTo>
                  <a:lnTo>
                    <a:pt x="1517964" y="82353"/>
                  </a:lnTo>
                  <a:lnTo>
                    <a:pt x="1511095" y="50376"/>
                  </a:lnTo>
                  <a:lnTo>
                    <a:pt x="1505890" y="43789"/>
                  </a:lnTo>
                  <a:close/>
                </a:path>
              </a:pathLst>
            </a:custGeom>
            <a:solidFill>
              <a:srgbClr val="002F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endParaRPr lang="en-AU"/>
            </a:p>
          </p:txBody>
        </p:sp>
      </p:grpSp>
      <p:sp>
        <p:nvSpPr>
          <p:cNvPr id="7173" name="object 12">
            <a:extLst>
              <a:ext uri="{FF2B5EF4-FFF2-40B4-BE49-F238E27FC236}">
                <a16:creationId xmlns:a16="http://schemas.microsoft.com/office/drawing/2014/main" id="{0708C3CB-8464-8776-CAAA-860010B14EB8}"/>
              </a:ext>
            </a:extLst>
          </p:cNvPr>
          <p:cNvSpPr>
            <a:spLocks/>
          </p:cNvSpPr>
          <p:nvPr userDrawn="1"/>
        </p:nvSpPr>
        <p:spPr bwMode="auto">
          <a:xfrm>
            <a:off x="0" y="1501775"/>
            <a:ext cx="20104100" cy="20638"/>
          </a:xfrm>
          <a:custGeom>
            <a:avLst/>
            <a:gdLst>
              <a:gd name="T0" fmla="*/ 0 w 20104100"/>
              <a:gd name="T1" fmla="*/ 0 h 21590"/>
              <a:gd name="T2" fmla="*/ 0 w 20104100"/>
              <a:gd name="T3" fmla="*/ 20973 h 21590"/>
              <a:gd name="T4" fmla="*/ 20104099 w 20104100"/>
              <a:gd name="T5" fmla="*/ 20973 h 21590"/>
              <a:gd name="T6" fmla="*/ 20104099 w 20104100"/>
              <a:gd name="T7" fmla="*/ 0 h 21590"/>
              <a:gd name="T8" fmla="*/ 0 w 20104100"/>
              <a:gd name="T9" fmla="*/ 0 h 215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0104100" h="21590">
                <a:moveTo>
                  <a:pt x="0" y="0"/>
                </a:moveTo>
                <a:lnTo>
                  <a:pt x="0" y="20973"/>
                </a:lnTo>
                <a:lnTo>
                  <a:pt x="20104099" y="20973"/>
                </a:lnTo>
                <a:lnTo>
                  <a:pt x="20104099" y="0"/>
                </a:lnTo>
                <a:lnTo>
                  <a:pt x="0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en-A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57" r:id="rId1"/>
  </p:sldLayoutIdLst>
  <p:txStyles>
    <p:titleStyle>
      <a:lvl1pPr algn="l" rtl="0" fontAlgn="base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algn="l" rtl="0" fontAlgn="base">
        <a:lnSpc>
          <a:spcPct val="90000"/>
        </a:lnSpc>
        <a:spcBef>
          <a:spcPts val="1000"/>
        </a:spcBef>
        <a:spcAft>
          <a:spcPct val="0"/>
        </a:spcAft>
        <a:buFont typeface="Arial" panose="020B0604020202020204" pitchFamily="34" charset="0"/>
        <a:defRPr kern="1200">
          <a:solidFill>
            <a:schemeClr val="tx1"/>
          </a:solidFill>
          <a:latin typeface="Helvetica" pitchFamily="2" charset="0"/>
          <a:ea typeface="+mn-ea"/>
          <a:cs typeface="+mn-cs"/>
        </a:defRPr>
      </a:lvl1pPr>
      <a:lvl2pPr marL="685800" indent="-228600" algn="l" rtl="0" fontAlgn="base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fontAlgn="base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fontAlgn="base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fontAlgn="base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194" name="Predmet 2" hidden="1">
            <a:extLst>
              <a:ext uri="{FF2B5EF4-FFF2-40B4-BE49-F238E27FC236}">
                <a16:creationId xmlns:a16="http://schemas.microsoft.com/office/drawing/2014/main" id="{1FAA6477-1537-B1D4-372C-F2D74299EB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8194" name="Predmet 2" hidden="1">
                        <a:extLst>
                          <a:ext uri="{FF2B5EF4-FFF2-40B4-BE49-F238E27FC236}">
                            <a16:creationId xmlns:a16="http://schemas.microsoft.com/office/drawing/2014/main" id="{1FAA6477-1537-B1D4-372C-F2D74299EB0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195" name="object 2">
            <a:extLst>
              <a:ext uri="{FF2B5EF4-FFF2-40B4-BE49-F238E27FC236}">
                <a16:creationId xmlns:a16="http://schemas.microsoft.com/office/drawing/2014/main" id="{3687FAA2-58DF-63F7-4E7D-C7379F439F36}"/>
              </a:ext>
            </a:extLst>
          </p:cNvPr>
          <p:cNvSpPr>
            <a:spLocks/>
          </p:cNvSpPr>
          <p:nvPr userDrawn="1"/>
        </p:nvSpPr>
        <p:spPr bwMode="auto">
          <a:xfrm>
            <a:off x="0" y="9078913"/>
            <a:ext cx="20104100" cy="2230437"/>
          </a:xfrm>
          <a:custGeom>
            <a:avLst/>
            <a:gdLst>
              <a:gd name="T0" fmla="*/ 0 w 20104100"/>
              <a:gd name="T1" fmla="*/ 0 h 2230754"/>
              <a:gd name="T2" fmla="*/ 0 w 20104100"/>
              <a:gd name="T3" fmla="*/ 2230298 h 2230754"/>
              <a:gd name="T4" fmla="*/ 20104099 w 20104100"/>
              <a:gd name="T5" fmla="*/ 2230298 h 2230754"/>
              <a:gd name="T6" fmla="*/ 20104099 w 20104100"/>
              <a:gd name="T7" fmla="*/ 0 h 2230754"/>
              <a:gd name="T8" fmla="*/ 0 w 20104100"/>
              <a:gd name="T9" fmla="*/ 0 h 22307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0104100" h="2230754">
                <a:moveTo>
                  <a:pt x="0" y="0"/>
                </a:moveTo>
                <a:lnTo>
                  <a:pt x="0" y="2230298"/>
                </a:lnTo>
                <a:lnTo>
                  <a:pt x="20104099" y="2230298"/>
                </a:lnTo>
                <a:lnTo>
                  <a:pt x="20104099" y="0"/>
                </a:lnTo>
                <a:lnTo>
                  <a:pt x="0" y="0"/>
                </a:lnTo>
                <a:close/>
              </a:path>
            </a:pathLst>
          </a:custGeom>
          <a:solidFill>
            <a:srgbClr val="393A41">
              <a:alpha val="94901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en-AU"/>
          </a:p>
        </p:txBody>
      </p:sp>
      <p:sp>
        <p:nvSpPr>
          <p:cNvPr id="4" name="Holder 2">
            <a:extLst>
              <a:ext uri="{FF2B5EF4-FFF2-40B4-BE49-F238E27FC236}">
                <a16:creationId xmlns:a16="http://schemas.microsoft.com/office/drawing/2014/main" id="{229989BE-94F5-D839-2115-C7AE0BB3C808}"/>
              </a:ext>
            </a:extLst>
          </p:cNvPr>
          <p:cNvSpPr txBox="1">
            <a:spLocks/>
          </p:cNvSpPr>
          <p:nvPr userDrawn="1"/>
        </p:nvSpPr>
        <p:spPr>
          <a:xfrm>
            <a:off x="4665663" y="9953625"/>
            <a:ext cx="10772775" cy="469900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>
            <a:lvl1pPr>
              <a:defRPr sz="2600" b="1" i="0">
                <a:solidFill>
                  <a:schemeClr val="bg1"/>
                </a:solidFill>
                <a:latin typeface="Helvetica" pitchFamily="2" charset="0"/>
                <a:ea typeface="+mj-ea"/>
                <a:cs typeface="Helvetica Neue"/>
              </a:defRPr>
            </a:lvl1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it-IT" sz="3050" b="0" kern="0" dirty="0">
                <a:latin typeface="Helvetica Light" panose="020B0403020202020204" pitchFamily="34" charset="0"/>
              </a:rPr>
              <a:t>Style, performance and comfort </a:t>
            </a:r>
            <a:r>
              <a:rPr lang="it-IT" sz="3050" b="0" kern="0" dirty="0" err="1">
                <a:latin typeface="Helvetica Light" panose="020B0403020202020204" pitchFamily="34" charset="0"/>
              </a:rPr>
              <a:t>all</a:t>
            </a:r>
            <a:r>
              <a:rPr lang="it-IT" sz="3050" b="0" kern="0" dirty="0">
                <a:latin typeface="Helvetica Light" panose="020B0403020202020204" pitchFamily="34" charset="0"/>
              </a:rPr>
              <a:t> in one.</a:t>
            </a:r>
          </a:p>
        </p:txBody>
      </p:sp>
      <p:sp>
        <p:nvSpPr>
          <p:cNvPr id="5" name="Holder 2">
            <a:extLst>
              <a:ext uri="{FF2B5EF4-FFF2-40B4-BE49-F238E27FC236}">
                <a16:creationId xmlns:a16="http://schemas.microsoft.com/office/drawing/2014/main" id="{8F6C9D44-4E30-412A-85D4-930B57451539}"/>
              </a:ext>
            </a:extLst>
          </p:cNvPr>
          <p:cNvSpPr txBox="1">
            <a:spLocks/>
          </p:cNvSpPr>
          <p:nvPr userDrawn="1"/>
        </p:nvSpPr>
        <p:spPr>
          <a:xfrm>
            <a:off x="9061450" y="9526588"/>
            <a:ext cx="1981200" cy="400050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>
            <a:lvl1pPr>
              <a:defRPr sz="2600" b="1" i="0">
                <a:solidFill>
                  <a:schemeClr val="bg1"/>
                </a:solidFill>
                <a:latin typeface="Helvetica" pitchFamily="2" charset="0"/>
                <a:ea typeface="+mj-ea"/>
                <a:cs typeface="Helvetica Neue"/>
              </a:defRPr>
            </a:lvl1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it-IT" spc="600" dirty="0"/>
              <a:t>SONIC.</a:t>
            </a:r>
            <a:endParaRPr lang="it-IT" kern="0" spc="600" dirty="0"/>
          </a:p>
        </p:txBody>
      </p:sp>
      <p:sp>
        <p:nvSpPr>
          <p:cNvPr id="8198" name="bg object 16">
            <a:extLst>
              <a:ext uri="{FF2B5EF4-FFF2-40B4-BE49-F238E27FC236}">
                <a16:creationId xmlns:a16="http://schemas.microsoft.com/office/drawing/2014/main" id="{8E4A3529-BA54-D22B-487B-9E792021EA61}"/>
              </a:ext>
            </a:extLst>
          </p:cNvPr>
          <p:cNvSpPr>
            <a:spLocks/>
          </p:cNvSpPr>
          <p:nvPr userDrawn="1"/>
        </p:nvSpPr>
        <p:spPr bwMode="auto">
          <a:xfrm>
            <a:off x="0" y="0"/>
            <a:ext cx="20104100" cy="1530350"/>
          </a:xfrm>
          <a:custGeom>
            <a:avLst/>
            <a:gdLst>
              <a:gd name="T0" fmla="*/ 0 w 20104100"/>
              <a:gd name="T1" fmla="*/ 1530592 h 1530985"/>
              <a:gd name="T2" fmla="*/ 20104099 w 20104100"/>
              <a:gd name="T3" fmla="*/ 1530592 h 1530985"/>
              <a:gd name="T4" fmla="*/ 20104099 w 20104100"/>
              <a:gd name="T5" fmla="*/ 0 h 1530985"/>
              <a:gd name="T6" fmla="*/ 0 w 20104100"/>
              <a:gd name="T7" fmla="*/ 0 h 1530985"/>
              <a:gd name="T8" fmla="*/ 0 w 20104100"/>
              <a:gd name="T9" fmla="*/ 1530592 h 15309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0104100" h="1530985">
                <a:moveTo>
                  <a:pt x="0" y="1530592"/>
                </a:moveTo>
                <a:lnTo>
                  <a:pt x="20104099" y="1530592"/>
                </a:lnTo>
                <a:lnTo>
                  <a:pt x="20104099" y="0"/>
                </a:lnTo>
                <a:lnTo>
                  <a:pt x="0" y="0"/>
                </a:lnTo>
                <a:lnTo>
                  <a:pt x="0" y="1530592"/>
                </a:lnTo>
                <a:close/>
              </a:path>
            </a:pathLst>
          </a:custGeom>
          <a:solidFill>
            <a:srgbClr val="393A41">
              <a:alpha val="94901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en-AU"/>
          </a:p>
        </p:txBody>
      </p:sp>
      <p:sp>
        <p:nvSpPr>
          <p:cNvPr id="8199" name="object 2">
            <a:extLst>
              <a:ext uri="{FF2B5EF4-FFF2-40B4-BE49-F238E27FC236}">
                <a16:creationId xmlns:a16="http://schemas.microsoft.com/office/drawing/2014/main" id="{28313E1F-C972-A8A3-BEB4-C6668433ABC6}"/>
              </a:ext>
            </a:extLst>
          </p:cNvPr>
          <p:cNvSpPr>
            <a:spLocks/>
          </p:cNvSpPr>
          <p:nvPr userDrawn="1"/>
        </p:nvSpPr>
        <p:spPr bwMode="auto">
          <a:xfrm>
            <a:off x="8507413" y="663575"/>
            <a:ext cx="3089275" cy="254000"/>
          </a:xfrm>
          <a:custGeom>
            <a:avLst/>
            <a:gdLst>
              <a:gd name="T0" fmla="*/ 343852 w 3090544"/>
              <a:gd name="T1" fmla="*/ 175133 h 253365"/>
              <a:gd name="T2" fmla="*/ 293979 w 3090544"/>
              <a:gd name="T3" fmla="*/ 165417 h 253365"/>
              <a:gd name="T4" fmla="*/ 266420 w 3090544"/>
              <a:gd name="T5" fmla="*/ 207365 h 253365"/>
              <a:gd name="T6" fmla="*/ 293979 w 3090544"/>
              <a:gd name="T7" fmla="*/ 249301 h 253365"/>
              <a:gd name="T8" fmla="*/ 343852 w 3090544"/>
              <a:gd name="T9" fmla="*/ 239534 h 253365"/>
              <a:gd name="T10" fmla="*/ 622452 w 3090544"/>
              <a:gd name="T11" fmla="*/ 246989 h 253365"/>
              <a:gd name="T12" fmla="*/ 413931 w 3090544"/>
              <a:gd name="T13" fmla="*/ 7061 h 253365"/>
              <a:gd name="T14" fmla="*/ 75628 w 3090544"/>
              <a:gd name="T15" fmla="*/ 9728 h 253365"/>
              <a:gd name="T16" fmla="*/ 0 w 3090544"/>
              <a:gd name="T17" fmla="*/ 123494 h 253365"/>
              <a:gd name="T18" fmla="*/ 75628 w 3090544"/>
              <a:gd name="T19" fmla="*/ 237286 h 253365"/>
              <a:gd name="T20" fmla="*/ 238823 w 3090544"/>
              <a:gd name="T21" fmla="*/ 203530 h 253365"/>
              <a:gd name="T22" fmla="*/ 164350 w 3090544"/>
              <a:gd name="T23" fmla="*/ 153962 h 253365"/>
              <a:gd name="T24" fmla="*/ 181749 w 3090544"/>
              <a:gd name="T25" fmla="*/ 65608 h 253365"/>
              <a:gd name="T26" fmla="*/ 258483 w 3090544"/>
              <a:gd name="T27" fmla="*/ 44411 h 253365"/>
              <a:gd name="T28" fmla="*/ 303085 w 3090544"/>
              <a:gd name="T29" fmla="*/ 74142 h 253365"/>
              <a:gd name="T30" fmla="*/ 1268044 w 3090544"/>
              <a:gd name="T31" fmla="*/ 248894 h 253365"/>
              <a:gd name="T32" fmla="*/ 1146378 w 3090544"/>
              <a:gd name="T33" fmla="*/ 92595 h 253365"/>
              <a:gd name="T34" fmla="*/ 1023289 w 3090544"/>
              <a:gd name="T35" fmla="*/ 174459 h 253365"/>
              <a:gd name="T36" fmla="*/ 1023289 w 3090544"/>
              <a:gd name="T37" fmla="*/ 174459 h 253365"/>
              <a:gd name="T38" fmla="*/ 906818 w 3090544"/>
              <a:gd name="T39" fmla="*/ 52743 h 253365"/>
              <a:gd name="T40" fmla="*/ 864831 w 3090544"/>
              <a:gd name="T41" fmla="*/ 218249 h 253365"/>
              <a:gd name="T42" fmla="*/ 1268044 w 3090544"/>
              <a:gd name="T43" fmla="*/ 248894 h 253365"/>
              <a:gd name="T44" fmla="*/ 1706829 w 3090544"/>
              <a:gd name="T45" fmla="*/ 43764 h 253365"/>
              <a:gd name="T46" fmla="*/ 1585315 w 3090544"/>
              <a:gd name="T47" fmla="*/ 2298 h 253365"/>
              <a:gd name="T48" fmla="*/ 1564487 w 3090544"/>
              <a:gd name="T49" fmla="*/ 183870 h 253365"/>
              <a:gd name="T50" fmla="*/ 1458353 w 3090544"/>
              <a:gd name="T51" fmla="*/ 205105 h 253365"/>
              <a:gd name="T52" fmla="*/ 1538414 w 3090544"/>
              <a:gd name="T53" fmla="*/ 49377 h 253365"/>
              <a:gd name="T54" fmla="*/ 1585315 w 3090544"/>
              <a:gd name="T55" fmla="*/ 124942 h 253365"/>
              <a:gd name="T56" fmla="*/ 1301597 w 3090544"/>
              <a:gd name="T57" fmla="*/ 0 h 253365"/>
              <a:gd name="T58" fmla="*/ 1604314 w 3090544"/>
              <a:gd name="T59" fmla="*/ 245668 h 253365"/>
              <a:gd name="T60" fmla="*/ 1735251 w 3090544"/>
              <a:gd name="T61" fmla="*/ 164058 h 253365"/>
              <a:gd name="T62" fmla="*/ 2206523 w 3090544"/>
              <a:gd name="T63" fmla="*/ 157530 h 253365"/>
              <a:gd name="T64" fmla="*/ 2261095 w 3090544"/>
              <a:gd name="T65" fmla="*/ 106921 h 253365"/>
              <a:gd name="T66" fmla="*/ 2252942 w 3090544"/>
              <a:gd name="T67" fmla="*/ 43802 h 253365"/>
              <a:gd name="T68" fmla="*/ 2154047 w 3090544"/>
              <a:gd name="T69" fmla="*/ 0 h 253365"/>
              <a:gd name="T70" fmla="*/ 1977072 w 3090544"/>
              <a:gd name="T71" fmla="*/ 248894 h 253365"/>
              <a:gd name="T72" fmla="*/ 2073948 w 3090544"/>
              <a:gd name="T73" fmla="*/ 47777 h 253365"/>
              <a:gd name="T74" fmla="*/ 2104517 w 3090544"/>
              <a:gd name="T75" fmla="*/ 89331 h 253365"/>
              <a:gd name="T76" fmla="*/ 2063915 w 3090544"/>
              <a:gd name="T77" fmla="*/ 136613 h 253365"/>
              <a:gd name="T78" fmla="*/ 2081834 w 3090544"/>
              <a:gd name="T79" fmla="*/ 248894 h 253365"/>
              <a:gd name="T80" fmla="*/ 2366886 w 3090544"/>
              <a:gd name="T81" fmla="*/ 12 h 253365"/>
              <a:gd name="T82" fmla="*/ 2523629 w 3090544"/>
              <a:gd name="T83" fmla="*/ 12 h 253365"/>
              <a:gd name="T84" fmla="*/ 3032163 w 3090544"/>
              <a:gd name="T85" fmla="*/ 174459 h 253365"/>
              <a:gd name="T86" fmla="*/ 2845473 w 3090544"/>
              <a:gd name="T87" fmla="*/ 0 h 253365"/>
              <a:gd name="T88" fmla="*/ 2782201 w 3090544"/>
              <a:gd name="T89" fmla="*/ 92595 h 253365"/>
              <a:gd name="T90" fmla="*/ 2688132 w 3090544"/>
              <a:gd name="T91" fmla="*/ 0 h 253365"/>
              <a:gd name="T92" fmla="*/ 2661729 w 3090544"/>
              <a:gd name="T93" fmla="*/ 248894 h 253365"/>
              <a:gd name="T94" fmla="*/ 2902902 w 3090544"/>
              <a:gd name="T95" fmla="*/ 248894 h 25336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3090544" h="253365">
                <a:moveTo>
                  <a:pt x="357009" y="207365"/>
                </a:moveTo>
                <a:lnTo>
                  <a:pt x="353491" y="189585"/>
                </a:lnTo>
                <a:lnTo>
                  <a:pt x="343852" y="175133"/>
                </a:lnTo>
                <a:lnTo>
                  <a:pt x="329476" y="165417"/>
                </a:lnTo>
                <a:lnTo>
                  <a:pt x="311746" y="161861"/>
                </a:lnTo>
                <a:lnTo>
                  <a:pt x="293979" y="165417"/>
                </a:lnTo>
                <a:lnTo>
                  <a:pt x="279577" y="175133"/>
                </a:lnTo>
                <a:lnTo>
                  <a:pt x="269938" y="189585"/>
                </a:lnTo>
                <a:lnTo>
                  <a:pt x="266420" y="207365"/>
                </a:lnTo>
                <a:lnTo>
                  <a:pt x="269938" y="225056"/>
                </a:lnTo>
                <a:lnTo>
                  <a:pt x="279577" y="239534"/>
                </a:lnTo>
                <a:lnTo>
                  <a:pt x="293979" y="249301"/>
                </a:lnTo>
                <a:lnTo>
                  <a:pt x="311746" y="252895"/>
                </a:lnTo>
                <a:lnTo>
                  <a:pt x="329476" y="249301"/>
                </a:lnTo>
                <a:lnTo>
                  <a:pt x="343852" y="239534"/>
                </a:lnTo>
                <a:lnTo>
                  <a:pt x="353491" y="225056"/>
                </a:lnTo>
                <a:lnTo>
                  <a:pt x="357009" y="207365"/>
                </a:lnTo>
                <a:close/>
              </a:path>
              <a:path w="3090544" h="253365">
                <a:moveTo>
                  <a:pt x="622452" y="246989"/>
                </a:moveTo>
                <a:lnTo>
                  <a:pt x="493928" y="81991"/>
                </a:lnTo>
                <a:lnTo>
                  <a:pt x="469874" y="51904"/>
                </a:lnTo>
                <a:lnTo>
                  <a:pt x="413931" y="7061"/>
                </a:lnTo>
                <a:lnTo>
                  <a:pt x="377621" y="12"/>
                </a:lnTo>
                <a:lnTo>
                  <a:pt x="123710" y="12"/>
                </a:lnTo>
                <a:lnTo>
                  <a:pt x="75628" y="9728"/>
                </a:lnTo>
                <a:lnTo>
                  <a:pt x="36296" y="36195"/>
                </a:lnTo>
                <a:lnTo>
                  <a:pt x="9740" y="75450"/>
                </a:lnTo>
                <a:lnTo>
                  <a:pt x="0" y="123494"/>
                </a:lnTo>
                <a:lnTo>
                  <a:pt x="9740" y="171564"/>
                </a:lnTo>
                <a:lnTo>
                  <a:pt x="36296" y="210820"/>
                </a:lnTo>
                <a:lnTo>
                  <a:pt x="75628" y="237286"/>
                </a:lnTo>
                <a:lnTo>
                  <a:pt x="123710" y="246989"/>
                </a:lnTo>
                <a:lnTo>
                  <a:pt x="238823" y="246989"/>
                </a:lnTo>
                <a:lnTo>
                  <a:pt x="238823" y="203530"/>
                </a:lnTo>
                <a:lnTo>
                  <a:pt x="207429" y="197129"/>
                </a:lnTo>
                <a:lnTo>
                  <a:pt x="181724" y="179705"/>
                </a:lnTo>
                <a:lnTo>
                  <a:pt x="164350" y="153962"/>
                </a:lnTo>
                <a:lnTo>
                  <a:pt x="157975" y="122542"/>
                </a:lnTo>
                <a:lnTo>
                  <a:pt x="164363" y="91198"/>
                </a:lnTo>
                <a:lnTo>
                  <a:pt x="181749" y="65608"/>
                </a:lnTo>
                <a:lnTo>
                  <a:pt x="207530" y="48361"/>
                </a:lnTo>
                <a:lnTo>
                  <a:pt x="239064" y="42037"/>
                </a:lnTo>
                <a:lnTo>
                  <a:pt x="258483" y="44411"/>
                </a:lnTo>
                <a:lnTo>
                  <a:pt x="275844" y="51041"/>
                </a:lnTo>
                <a:lnTo>
                  <a:pt x="290817" y="61201"/>
                </a:lnTo>
                <a:lnTo>
                  <a:pt x="303085" y="74142"/>
                </a:lnTo>
                <a:lnTo>
                  <a:pt x="436664" y="246989"/>
                </a:lnTo>
                <a:lnTo>
                  <a:pt x="622452" y="246989"/>
                </a:lnTo>
                <a:close/>
              </a:path>
              <a:path w="3090544" h="253365">
                <a:moveTo>
                  <a:pt x="1268044" y="248894"/>
                </a:moveTo>
                <a:lnTo>
                  <a:pt x="1244193" y="218249"/>
                </a:lnTo>
                <a:lnTo>
                  <a:pt x="1210106" y="174459"/>
                </a:lnTo>
                <a:lnTo>
                  <a:pt x="1146378" y="92595"/>
                </a:lnTo>
                <a:lnTo>
                  <a:pt x="1074293" y="0"/>
                </a:lnTo>
                <a:lnTo>
                  <a:pt x="1023289" y="0"/>
                </a:lnTo>
                <a:lnTo>
                  <a:pt x="1023289" y="174459"/>
                </a:lnTo>
                <a:lnTo>
                  <a:pt x="894892" y="174459"/>
                </a:lnTo>
                <a:lnTo>
                  <a:pt x="960107" y="92595"/>
                </a:lnTo>
                <a:lnTo>
                  <a:pt x="1023289" y="174459"/>
                </a:lnTo>
                <a:lnTo>
                  <a:pt x="1023289" y="0"/>
                </a:lnTo>
                <a:lnTo>
                  <a:pt x="866051" y="0"/>
                </a:lnTo>
                <a:lnTo>
                  <a:pt x="906818" y="52743"/>
                </a:lnTo>
                <a:lnTo>
                  <a:pt x="746315" y="248894"/>
                </a:lnTo>
                <a:lnTo>
                  <a:pt x="839660" y="248894"/>
                </a:lnTo>
                <a:lnTo>
                  <a:pt x="864831" y="218249"/>
                </a:lnTo>
                <a:lnTo>
                  <a:pt x="1057160" y="218249"/>
                </a:lnTo>
                <a:lnTo>
                  <a:pt x="1080795" y="248894"/>
                </a:lnTo>
                <a:lnTo>
                  <a:pt x="1268044" y="248894"/>
                </a:lnTo>
                <a:close/>
              </a:path>
              <a:path w="3090544" h="253365">
                <a:moveTo>
                  <a:pt x="1740636" y="125158"/>
                </a:moveTo>
                <a:lnTo>
                  <a:pt x="1735315" y="86347"/>
                </a:lnTo>
                <a:lnTo>
                  <a:pt x="1706829" y="43764"/>
                </a:lnTo>
                <a:lnTo>
                  <a:pt x="1654098" y="13538"/>
                </a:lnTo>
                <a:lnTo>
                  <a:pt x="1604657" y="3365"/>
                </a:lnTo>
                <a:lnTo>
                  <a:pt x="1585315" y="2298"/>
                </a:lnTo>
                <a:lnTo>
                  <a:pt x="1585315" y="124942"/>
                </a:lnTo>
                <a:lnTo>
                  <a:pt x="1580108" y="158673"/>
                </a:lnTo>
                <a:lnTo>
                  <a:pt x="1564487" y="183870"/>
                </a:lnTo>
                <a:lnTo>
                  <a:pt x="1538516" y="199644"/>
                </a:lnTo>
                <a:lnTo>
                  <a:pt x="1502232" y="205105"/>
                </a:lnTo>
                <a:lnTo>
                  <a:pt x="1458353" y="205105"/>
                </a:lnTo>
                <a:lnTo>
                  <a:pt x="1458353" y="43764"/>
                </a:lnTo>
                <a:lnTo>
                  <a:pt x="1502232" y="43764"/>
                </a:lnTo>
                <a:lnTo>
                  <a:pt x="1538414" y="49377"/>
                </a:lnTo>
                <a:lnTo>
                  <a:pt x="1564398" y="65506"/>
                </a:lnTo>
                <a:lnTo>
                  <a:pt x="1580070" y="91059"/>
                </a:lnTo>
                <a:lnTo>
                  <a:pt x="1585315" y="124942"/>
                </a:lnTo>
                <a:lnTo>
                  <a:pt x="1585315" y="2298"/>
                </a:lnTo>
                <a:lnTo>
                  <a:pt x="1543723" y="0"/>
                </a:lnTo>
                <a:lnTo>
                  <a:pt x="1301597" y="0"/>
                </a:lnTo>
                <a:lnTo>
                  <a:pt x="1301597" y="248894"/>
                </a:lnTo>
                <a:lnTo>
                  <a:pt x="1543723" y="248894"/>
                </a:lnTo>
                <a:lnTo>
                  <a:pt x="1604314" y="245668"/>
                </a:lnTo>
                <a:lnTo>
                  <a:pt x="1653654" y="235839"/>
                </a:lnTo>
                <a:lnTo>
                  <a:pt x="1691855" y="219138"/>
                </a:lnTo>
                <a:lnTo>
                  <a:pt x="1735251" y="164058"/>
                </a:lnTo>
                <a:lnTo>
                  <a:pt x="1740636" y="125158"/>
                </a:lnTo>
                <a:close/>
              </a:path>
              <a:path w="3090544" h="253365">
                <a:moveTo>
                  <a:pt x="2277529" y="248894"/>
                </a:moveTo>
                <a:lnTo>
                  <a:pt x="2206523" y="157530"/>
                </a:lnTo>
                <a:lnTo>
                  <a:pt x="2231339" y="145008"/>
                </a:lnTo>
                <a:lnTo>
                  <a:pt x="2249703" y="127965"/>
                </a:lnTo>
                <a:lnTo>
                  <a:pt x="2261095" y="106921"/>
                </a:lnTo>
                <a:lnTo>
                  <a:pt x="2265019" y="82397"/>
                </a:lnTo>
                <a:lnTo>
                  <a:pt x="2258149" y="50393"/>
                </a:lnTo>
                <a:lnTo>
                  <a:pt x="2252942" y="43802"/>
                </a:lnTo>
                <a:lnTo>
                  <a:pt x="2237448" y="24193"/>
                </a:lnTo>
                <a:lnTo>
                  <a:pt x="2202789" y="6502"/>
                </a:lnTo>
                <a:lnTo>
                  <a:pt x="2154047" y="0"/>
                </a:lnTo>
                <a:lnTo>
                  <a:pt x="1820545" y="0"/>
                </a:lnTo>
                <a:lnTo>
                  <a:pt x="1820545" y="248894"/>
                </a:lnTo>
                <a:lnTo>
                  <a:pt x="1977072" y="248894"/>
                </a:lnTo>
                <a:lnTo>
                  <a:pt x="1977072" y="43802"/>
                </a:lnTo>
                <a:lnTo>
                  <a:pt x="2047989" y="43802"/>
                </a:lnTo>
                <a:lnTo>
                  <a:pt x="2073948" y="47777"/>
                </a:lnTo>
                <a:lnTo>
                  <a:pt x="2091486" y="58178"/>
                </a:lnTo>
                <a:lnTo>
                  <a:pt x="2101392" y="72783"/>
                </a:lnTo>
                <a:lnTo>
                  <a:pt x="2104517" y="89331"/>
                </a:lnTo>
                <a:lnTo>
                  <a:pt x="2098624" y="111201"/>
                </a:lnTo>
                <a:lnTo>
                  <a:pt x="2083714" y="127012"/>
                </a:lnTo>
                <a:lnTo>
                  <a:pt x="2063915" y="136613"/>
                </a:lnTo>
                <a:lnTo>
                  <a:pt x="2043353" y="139852"/>
                </a:lnTo>
                <a:lnTo>
                  <a:pt x="2022157" y="139852"/>
                </a:lnTo>
                <a:lnTo>
                  <a:pt x="2081834" y="248894"/>
                </a:lnTo>
                <a:lnTo>
                  <a:pt x="2277529" y="248894"/>
                </a:lnTo>
                <a:close/>
              </a:path>
              <a:path w="3090544" h="253365">
                <a:moveTo>
                  <a:pt x="2523629" y="12"/>
                </a:moveTo>
                <a:lnTo>
                  <a:pt x="2366886" y="12"/>
                </a:lnTo>
                <a:lnTo>
                  <a:pt x="2366886" y="248894"/>
                </a:lnTo>
                <a:lnTo>
                  <a:pt x="2523629" y="248894"/>
                </a:lnTo>
                <a:lnTo>
                  <a:pt x="2523629" y="12"/>
                </a:lnTo>
                <a:close/>
              </a:path>
              <a:path w="3090544" h="253365">
                <a:moveTo>
                  <a:pt x="3090049" y="248894"/>
                </a:moveTo>
                <a:lnTo>
                  <a:pt x="3066224" y="218249"/>
                </a:lnTo>
                <a:lnTo>
                  <a:pt x="3032163" y="174459"/>
                </a:lnTo>
                <a:lnTo>
                  <a:pt x="2968498" y="92595"/>
                </a:lnTo>
                <a:lnTo>
                  <a:pt x="2896476" y="0"/>
                </a:lnTo>
                <a:lnTo>
                  <a:pt x="2845473" y="0"/>
                </a:lnTo>
                <a:lnTo>
                  <a:pt x="2845473" y="174459"/>
                </a:lnTo>
                <a:lnTo>
                  <a:pt x="2716720" y="174459"/>
                </a:lnTo>
                <a:lnTo>
                  <a:pt x="2782201" y="92595"/>
                </a:lnTo>
                <a:lnTo>
                  <a:pt x="2845473" y="174459"/>
                </a:lnTo>
                <a:lnTo>
                  <a:pt x="2845473" y="0"/>
                </a:lnTo>
                <a:lnTo>
                  <a:pt x="2688132" y="0"/>
                </a:lnTo>
                <a:lnTo>
                  <a:pt x="2728988" y="52743"/>
                </a:lnTo>
                <a:lnTo>
                  <a:pt x="2568397" y="248894"/>
                </a:lnTo>
                <a:lnTo>
                  <a:pt x="2661729" y="248894"/>
                </a:lnTo>
                <a:lnTo>
                  <a:pt x="2686913" y="218249"/>
                </a:lnTo>
                <a:lnTo>
                  <a:pt x="2879267" y="218249"/>
                </a:lnTo>
                <a:lnTo>
                  <a:pt x="2902902" y="248894"/>
                </a:lnTo>
                <a:lnTo>
                  <a:pt x="3090049" y="248894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en-A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59" r:id="rId1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>
          <a:solidFill>
            <a:schemeClr val="tx2"/>
          </a:solidFill>
          <a:latin typeface="Calibri" panose="020F0502020204030204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>
          <a:solidFill>
            <a:schemeClr val="tx2"/>
          </a:solidFill>
          <a:latin typeface="Calibri" panose="020F0502020204030204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>
          <a:solidFill>
            <a:schemeClr val="tx2"/>
          </a:solidFill>
          <a:latin typeface="Calibri" panose="020F0502020204030204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>
          <a:solidFill>
            <a:schemeClr val="tx2"/>
          </a:solidFill>
          <a:latin typeface="Calibri" panose="020F0502020204030204" pitchFamily="34" charset="0"/>
        </a:defRPr>
      </a:lvl5pPr>
      <a:lvl6pPr marL="457200" algn="ctr" rtl="0" eaLnBrk="0" fontAlgn="base" hangingPunct="0">
        <a:spcBef>
          <a:spcPct val="0"/>
        </a:spcBef>
        <a:spcAft>
          <a:spcPct val="0"/>
        </a:spcAft>
        <a:defRPr>
          <a:solidFill>
            <a:schemeClr val="tx2"/>
          </a:solidFill>
          <a:latin typeface="Calibri" panose="020F0502020204030204" pitchFamily="34" charset="0"/>
        </a:defRPr>
      </a:lvl6pPr>
      <a:lvl7pPr marL="914400" algn="ctr" rtl="0" eaLnBrk="0" fontAlgn="base" hangingPunct="0">
        <a:spcBef>
          <a:spcPct val="0"/>
        </a:spcBef>
        <a:spcAft>
          <a:spcPct val="0"/>
        </a:spcAft>
        <a:defRPr>
          <a:solidFill>
            <a:schemeClr val="tx2"/>
          </a:solidFill>
          <a:latin typeface="Calibri" panose="020F0502020204030204" pitchFamily="34" charset="0"/>
        </a:defRPr>
      </a:lvl7pPr>
      <a:lvl8pPr marL="1371600" algn="ctr" rtl="0" eaLnBrk="0" fontAlgn="base" hangingPunct="0">
        <a:spcBef>
          <a:spcPct val="0"/>
        </a:spcBef>
        <a:spcAft>
          <a:spcPct val="0"/>
        </a:spcAft>
        <a:defRPr>
          <a:solidFill>
            <a:schemeClr val="tx2"/>
          </a:solidFill>
          <a:latin typeface="Calibri" panose="020F0502020204030204" pitchFamily="34" charset="0"/>
        </a:defRPr>
      </a:lvl8pPr>
      <a:lvl9pPr marL="1828800" algn="ctr" rtl="0" eaLnBrk="0" fontAlgn="base" hangingPunct="0">
        <a:spcBef>
          <a:spcPct val="0"/>
        </a:spcBef>
        <a:spcAft>
          <a:spcPct val="0"/>
        </a:spcAft>
        <a:defRPr>
          <a:solidFill>
            <a:schemeClr val="tx2"/>
          </a:solidFill>
          <a:latin typeface="Calibri" panose="020F0502020204030204" pitchFamily="34" charset="0"/>
        </a:defRPr>
      </a:lvl9pPr>
    </p:titleStyle>
    <p:bodyStyle>
      <a:lvl1pPr algn="l" rtl="0" eaLnBrk="0" fontAlgn="base" hangingPunct="0">
        <a:spcBef>
          <a:spcPct val="20000"/>
        </a:spcBef>
        <a:spcAft>
          <a:spcPct val="0"/>
        </a:spcAft>
        <a:defRPr>
          <a:solidFill>
            <a:schemeClr val="tx1"/>
          </a:solidFill>
          <a:latin typeface="Helvetica" pitchFamily="2" charset="0"/>
          <a:ea typeface="+mn-ea"/>
          <a:cs typeface="+mn-cs"/>
        </a:defRPr>
      </a:lvl1pPr>
      <a:lvl2pPr marL="457200" algn="l" rtl="0" eaLnBrk="0" fontAlgn="base" hangingPunct="0">
        <a:spcBef>
          <a:spcPct val="20000"/>
        </a:spcBef>
        <a:spcAft>
          <a:spcPct val="0"/>
        </a:spcAft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0" fontAlgn="base" hangingPunct="0">
        <a:spcBef>
          <a:spcPct val="20000"/>
        </a:spcBef>
        <a:spcAft>
          <a:spcPct val="0"/>
        </a:spcAft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0" fontAlgn="base" hangingPunct="0">
        <a:spcBef>
          <a:spcPct val="20000"/>
        </a:spcBef>
        <a:spcAft>
          <a:spcPct val="0"/>
        </a:spcAft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0" fontAlgn="base" hangingPunct="0">
        <a:spcBef>
          <a:spcPct val="20000"/>
        </a:spcBef>
        <a:spcAft>
          <a:spcPct val="0"/>
        </a:spcAft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218" name="Predmet 2" hidden="1">
            <a:extLst>
              <a:ext uri="{FF2B5EF4-FFF2-40B4-BE49-F238E27FC236}">
                <a16:creationId xmlns:a16="http://schemas.microsoft.com/office/drawing/2014/main" id="{BF392585-508D-404C-366B-35AAF81410B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9218" name="Predmet 2" hidden="1">
                        <a:extLst>
                          <a:ext uri="{FF2B5EF4-FFF2-40B4-BE49-F238E27FC236}">
                            <a16:creationId xmlns:a16="http://schemas.microsoft.com/office/drawing/2014/main" id="{BF392585-508D-404C-366B-35AAF81410B2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219" name="object 2">
            <a:extLst>
              <a:ext uri="{FF2B5EF4-FFF2-40B4-BE49-F238E27FC236}">
                <a16:creationId xmlns:a16="http://schemas.microsoft.com/office/drawing/2014/main" id="{07C7E1BF-523E-D58E-EF5D-B04DF6EB989B}"/>
              </a:ext>
            </a:extLst>
          </p:cNvPr>
          <p:cNvSpPr>
            <a:spLocks/>
          </p:cNvSpPr>
          <p:nvPr userDrawn="1"/>
        </p:nvSpPr>
        <p:spPr bwMode="auto">
          <a:xfrm>
            <a:off x="0" y="0"/>
            <a:ext cx="20104100" cy="11309350"/>
          </a:xfrm>
          <a:custGeom>
            <a:avLst/>
            <a:gdLst>
              <a:gd name="T0" fmla="*/ 20104099 w 20104100"/>
              <a:gd name="T1" fmla="*/ 0 h 11308715"/>
              <a:gd name="T2" fmla="*/ 0 w 20104100"/>
              <a:gd name="T3" fmla="*/ 0 h 11308715"/>
              <a:gd name="T4" fmla="*/ 0 w 20104100"/>
              <a:gd name="T5" fmla="*/ 11308556 h 11308715"/>
              <a:gd name="T6" fmla="*/ 20104099 w 20104100"/>
              <a:gd name="T7" fmla="*/ 11308556 h 11308715"/>
              <a:gd name="T8" fmla="*/ 20104099 w 20104100"/>
              <a:gd name="T9" fmla="*/ 0 h 113087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0104100" h="11308715">
                <a:moveTo>
                  <a:pt x="20104099" y="0"/>
                </a:moveTo>
                <a:lnTo>
                  <a:pt x="0" y="0"/>
                </a:lnTo>
                <a:lnTo>
                  <a:pt x="0" y="11308556"/>
                </a:lnTo>
                <a:lnTo>
                  <a:pt x="20104099" y="11308556"/>
                </a:lnTo>
                <a:lnTo>
                  <a:pt x="20104099" y="0"/>
                </a:lnTo>
                <a:close/>
              </a:path>
            </a:pathLst>
          </a:custGeom>
          <a:solidFill>
            <a:srgbClr val="393A41">
              <a:alpha val="94901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en-AU"/>
          </a:p>
        </p:txBody>
      </p:sp>
      <p:sp>
        <p:nvSpPr>
          <p:cNvPr id="6" name="object 5">
            <a:extLst>
              <a:ext uri="{FF2B5EF4-FFF2-40B4-BE49-F238E27FC236}">
                <a16:creationId xmlns:a16="http://schemas.microsoft.com/office/drawing/2014/main" id="{8647C396-F19B-0E65-552B-10351F24C29D}"/>
              </a:ext>
            </a:extLst>
          </p:cNvPr>
          <p:cNvSpPr txBox="1"/>
          <p:nvPr userDrawn="1"/>
        </p:nvSpPr>
        <p:spPr>
          <a:xfrm>
            <a:off x="9442450" y="9312275"/>
            <a:ext cx="1479550" cy="1233030"/>
          </a:xfrm>
          <a:prstGeom prst="rect">
            <a:avLst/>
          </a:prstGeom>
        </p:spPr>
        <p:txBody>
          <a:bodyPr wrap="square" lIns="0" tIns="189865" rIns="0" bIns="0">
            <a:spAutoFit/>
          </a:bodyPr>
          <a:lstStyle/>
          <a:p>
            <a:pPr marL="12700" eaLnBrk="1" fontAlgn="auto" hangingPunct="1">
              <a:spcBef>
                <a:spcPts val="1495"/>
              </a:spcBef>
              <a:spcAft>
                <a:spcPts val="0"/>
              </a:spcAft>
              <a:defRPr/>
            </a:pPr>
            <a:r>
              <a:rPr sz="2800" spc="475" dirty="0">
                <a:solidFill>
                  <a:srgbClr val="FFFFFF"/>
                </a:solidFill>
                <a:latin typeface="HelveticaNeue-Light"/>
                <a:cs typeface="HelveticaNeue-Light"/>
              </a:rPr>
              <a:t>2</a:t>
            </a:r>
            <a:r>
              <a:rPr sz="2800" spc="15" dirty="0">
                <a:solidFill>
                  <a:srgbClr val="FFFFFF"/>
                </a:solidFill>
                <a:latin typeface="HelveticaNeue-Light"/>
                <a:cs typeface="HelveticaNeue-Light"/>
              </a:rPr>
              <a:t>0</a:t>
            </a:r>
            <a:r>
              <a:rPr sz="2800" spc="-390" dirty="0">
                <a:solidFill>
                  <a:srgbClr val="FFFFFF"/>
                </a:solidFill>
                <a:latin typeface="HelveticaNeue-Light"/>
                <a:cs typeface="HelveticaNeue-Light"/>
              </a:rPr>
              <a:t> </a:t>
            </a:r>
            <a:r>
              <a:rPr sz="2800" b="1" spc="475" dirty="0">
                <a:solidFill>
                  <a:srgbClr val="FFFFFF"/>
                </a:solidFill>
                <a:latin typeface="Helvetica Neue"/>
                <a:cs typeface="Helvetica Neue"/>
              </a:rPr>
              <a:t>2</a:t>
            </a:r>
            <a:r>
              <a:rPr lang="it-IT" sz="2800" b="1" spc="15" dirty="0">
                <a:solidFill>
                  <a:srgbClr val="FFFFFF"/>
                </a:solidFill>
                <a:latin typeface="Helvetica Neue"/>
                <a:cs typeface="Helvetica Neue"/>
              </a:rPr>
              <a:t>3</a:t>
            </a:r>
            <a:r>
              <a:rPr sz="2800" b="1" spc="-390" dirty="0">
                <a:solidFill>
                  <a:srgbClr val="FFFFFF"/>
                </a:solidFill>
                <a:latin typeface="Helvetica Neue"/>
                <a:cs typeface="Helvetica Neue"/>
              </a:rPr>
              <a:t> </a:t>
            </a:r>
            <a:endParaRPr sz="2800" dirty="0">
              <a:latin typeface="Helvetica Neue"/>
              <a:cs typeface="Helvetica Neue"/>
            </a:endParaRPr>
          </a:p>
          <a:p>
            <a:pPr marL="12700" eaLnBrk="1" fontAlgn="auto" hangingPunct="1">
              <a:spcBef>
                <a:spcPts val="1405"/>
              </a:spcBef>
              <a:spcAft>
                <a:spcPts val="0"/>
              </a:spcAft>
              <a:defRPr/>
            </a:pPr>
            <a:r>
              <a:rPr sz="2800" spc="475" dirty="0">
                <a:solidFill>
                  <a:srgbClr val="FFFFFF"/>
                </a:solidFill>
                <a:latin typeface="HelveticaNeue-Light"/>
                <a:cs typeface="HelveticaNeue-Light"/>
              </a:rPr>
              <a:t>2</a:t>
            </a:r>
            <a:r>
              <a:rPr sz="2800" spc="15" dirty="0">
                <a:solidFill>
                  <a:srgbClr val="FFFFFF"/>
                </a:solidFill>
                <a:latin typeface="HelveticaNeue-Light"/>
                <a:cs typeface="HelveticaNeue-Light"/>
              </a:rPr>
              <a:t>0</a:t>
            </a:r>
            <a:r>
              <a:rPr sz="2800" spc="-390" dirty="0">
                <a:solidFill>
                  <a:srgbClr val="FFFFFF"/>
                </a:solidFill>
                <a:latin typeface="HelveticaNeue-Light"/>
                <a:cs typeface="HelveticaNeue-Light"/>
              </a:rPr>
              <a:t> </a:t>
            </a:r>
            <a:r>
              <a:rPr sz="2800" b="1" spc="475" dirty="0">
                <a:solidFill>
                  <a:srgbClr val="FFFFFF"/>
                </a:solidFill>
                <a:latin typeface="Helvetica Neue"/>
                <a:cs typeface="Helvetica Neue"/>
              </a:rPr>
              <a:t>2</a:t>
            </a:r>
            <a:r>
              <a:rPr lang="it-IT" sz="2800" b="1" spc="475" dirty="0">
                <a:solidFill>
                  <a:srgbClr val="FFFFFF"/>
                </a:solidFill>
                <a:latin typeface="Helvetica Neue"/>
                <a:cs typeface="Helvetica Neue"/>
              </a:rPr>
              <a:t>4</a:t>
            </a:r>
            <a:r>
              <a:rPr sz="2800" b="1" spc="-390" dirty="0">
                <a:solidFill>
                  <a:srgbClr val="FFFFFF"/>
                </a:solidFill>
                <a:latin typeface="Helvetica Neue"/>
                <a:cs typeface="Helvetica Neue"/>
              </a:rPr>
              <a:t> </a:t>
            </a:r>
            <a:endParaRPr sz="2800" dirty="0">
              <a:latin typeface="Helvetica Neue"/>
              <a:cs typeface="Helvetica Neue"/>
            </a:endParaRPr>
          </a:p>
        </p:txBody>
      </p:sp>
      <p:sp>
        <p:nvSpPr>
          <p:cNvPr id="9223" name="object 6">
            <a:extLst>
              <a:ext uri="{FF2B5EF4-FFF2-40B4-BE49-F238E27FC236}">
                <a16:creationId xmlns:a16="http://schemas.microsoft.com/office/drawing/2014/main" id="{5ADD67A4-ABAC-FD02-4883-37F31035063D}"/>
              </a:ext>
            </a:extLst>
          </p:cNvPr>
          <p:cNvSpPr>
            <a:spLocks/>
          </p:cNvSpPr>
          <p:nvPr userDrawn="1"/>
        </p:nvSpPr>
        <p:spPr bwMode="auto">
          <a:xfrm>
            <a:off x="9563100" y="10066338"/>
            <a:ext cx="977900" cy="0"/>
          </a:xfrm>
          <a:custGeom>
            <a:avLst/>
            <a:gdLst>
              <a:gd name="T0" fmla="*/ 0 w 977900"/>
              <a:gd name="T1" fmla="*/ 977404 w 977900"/>
            </a:gdLst>
            <a:ahLst/>
            <a:cxnLst>
              <a:cxn ang="0">
                <a:pos x="T0" y="0"/>
              </a:cxn>
              <a:cxn ang="0">
                <a:pos x="T1" y="0"/>
              </a:cxn>
            </a:cxnLst>
            <a:rect l="0" t="0" r="r" b="b"/>
            <a:pathLst>
              <a:path w="977900">
                <a:moveTo>
                  <a:pt x="0" y="0"/>
                </a:moveTo>
                <a:lnTo>
                  <a:pt x="977404" y="0"/>
                </a:lnTo>
              </a:path>
            </a:pathLst>
          </a:custGeom>
          <a:noFill/>
          <a:ln w="20973">
            <a:solidFill>
              <a:srgbClr val="999999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endParaRPr lang="en-AU"/>
          </a:p>
        </p:txBody>
      </p:sp>
      <p:grpSp>
        <p:nvGrpSpPr>
          <p:cNvPr id="9224" name="Gruppo 13">
            <a:extLst>
              <a:ext uri="{FF2B5EF4-FFF2-40B4-BE49-F238E27FC236}">
                <a16:creationId xmlns:a16="http://schemas.microsoft.com/office/drawing/2014/main" id="{D28038E9-924B-171D-5364-94CC5EAF191E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8507413" y="663575"/>
            <a:ext cx="3089275" cy="254000"/>
            <a:chOff x="8507022" y="664144"/>
            <a:chExt cx="3090102" cy="253385"/>
          </a:xfrm>
        </p:grpSpPr>
        <p:sp>
          <p:nvSpPr>
            <p:cNvPr id="9225" name="object 7">
              <a:extLst>
                <a:ext uri="{FF2B5EF4-FFF2-40B4-BE49-F238E27FC236}">
                  <a16:creationId xmlns:a16="http://schemas.microsoft.com/office/drawing/2014/main" id="{643F76A9-B924-D5AB-3B20-2901060335A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07022" y="664164"/>
              <a:ext cx="622935" cy="253365"/>
            </a:xfrm>
            <a:custGeom>
              <a:avLst/>
              <a:gdLst>
                <a:gd name="T0" fmla="*/ 311749 w 622934"/>
                <a:gd name="T1" fmla="*/ 161838 h 253365"/>
                <a:gd name="T2" fmla="*/ 293975 w 622934"/>
                <a:gd name="T3" fmla="*/ 165393 h 253365"/>
                <a:gd name="T4" fmla="*/ 279577 w 622934"/>
                <a:gd name="T5" fmla="*/ 175112 h 253365"/>
                <a:gd name="T6" fmla="*/ 269931 w 622934"/>
                <a:gd name="T7" fmla="*/ 189570 h 253365"/>
                <a:gd name="T8" fmla="*/ 266410 w 622934"/>
                <a:gd name="T9" fmla="*/ 207344 h 253365"/>
                <a:gd name="T10" fmla="*/ 269931 w 622934"/>
                <a:gd name="T11" fmla="*/ 225042 h 253365"/>
                <a:gd name="T12" fmla="*/ 279577 w 622934"/>
                <a:gd name="T13" fmla="*/ 239516 h 253365"/>
                <a:gd name="T14" fmla="*/ 293975 w 622934"/>
                <a:gd name="T15" fmla="*/ 249286 h 253365"/>
                <a:gd name="T16" fmla="*/ 311749 w 622934"/>
                <a:gd name="T17" fmla="*/ 252871 h 253365"/>
                <a:gd name="T18" fmla="*/ 329478 w 622934"/>
                <a:gd name="T19" fmla="*/ 249286 h 253365"/>
                <a:gd name="T20" fmla="*/ 343846 w 622934"/>
                <a:gd name="T21" fmla="*/ 239516 h 253365"/>
                <a:gd name="T22" fmla="*/ 353477 w 622934"/>
                <a:gd name="T23" fmla="*/ 225042 h 253365"/>
                <a:gd name="T24" fmla="*/ 356994 w 622934"/>
                <a:gd name="T25" fmla="*/ 207344 h 253365"/>
                <a:gd name="T26" fmla="*/ 353477 w 622934"/>
                <a:gd name="T27" fmla="*/ 189570 h 253365"/>
                <a:gd name="T28" fmla="*/ 343846 w 622934"/>
                <a:gd name="T29" fmla="*/ 175112 h 253365"/>
                <a:gd name="T30" fmla="*/ 329478 w 622934"/>
                <a:gd name="T31" fmla="*/ 165393 h 253365"/>
                <a:gd name="T32" fmla="*/ 311749 w 622934"/>
                <a:gd name="T33" fmla="*/ 161838 h 253365"/>
                <a:gd name="T34" fmla="*/ 377622 w 622934"/>
                <a:gd name="T35" fmla="*/ 0 h 253365"/>
                <a:gd name="T36" fmla="*/ 123713 w 622934"/>
                <a:gd name="T37" fmla="*/ 0 h 253365"/>
                <a:gd name="T38" fmla="*/ 75630 w 622934"/>
                <a:gd name="T39" fmla="*/ 9709 h 253365"/>
                <a:gd name="T40" fmla="*/ 36298 w 622934"/>
                <a:gd name="T41" fmla="*/ 36182 h 253365"/>
                <a:gd name="T42" fmla="*/ 9745 w 622934"/>
                <a:gd name="T43" fmla="*/ 75431 h 253365"/>
                <a:gd name="T44" fmla="*/ 0 w 622934"/>
                <a:gd name="T45" fmla="*/ 123472 h 253365"/>
                <a:gd name="T46" fmla="*/ 9745 w 622934"/>
                <a:gd name="T47" fmla="*/ 171547 h 253365"/>
                <a:gd name="T48" fmla="*/ 36298 w 622934"/>
                <a:gd name="T49" fmla="*/ 210801 h 253365"/>
                <a:gd name="T50" fmla="*/ 75630 w 622934"/>
                <a:gd name="T51" fmla="*/ 237263 h 253365"/>
                <a:gd name="T52" fmla="*/ 123713 w 622934"/>
                <a:gd name="T53" fmla="*/ 246966 h 253365"/>
                <a:gd name="T54" fmla="*/ 238819 w 622934"/>
                <a:gd name="T55" fmla="*/ 246966 h 253365"/>
                <a:gd name="T56" fmla="*/ 238819 w 622934"/>
                <a:gd name="T57" fmla="*/ 203512 h 253365"/>
                <a:gd name="T58" fmla="*/ 207431 w 622934"/>
                <a:gd name="T59" fmla="*/ 197110 h 253365"/>
                <a:gd name="T60" fmla="*/ 181724 w 622934"/>
                <a:gd name="T61" fmla="*/ 179693 h 253365"/>
                <a:gd name="T62" fmla="*/ 164354 w 622934"/>
                <a:gd name="T63" fmla="*/ 153940 h 253365"/>
                <a:gd name="T64" fmla="*/ 157974 w 622934"/>
                <a:gd name="T65" fmla="*/ 122530 h 253365"/>
                <a:gd name="T66" fmla="*/ 164358 w 622934"/>
                <a:gd name="T67" fmla="*/ 91185 h 253365"/>
                <a:gd name="T68" fmla="*/ 181754 w 622934"/>
                <a:gd name="T69" fmla="*/ 65594 h 253365"/>
                <a:gd name="T70" fmla="*/ 207533 w 622934"/>
                <a:gd name="T71" fmla="*/ 48344 h 253365"/>
                <a:gd name="T72" fmla="*/ 239060 w 622934"/>
                <a:gd name="T73" fmla="*/ 42019 h 253365"/>
                <a:gd name="T74" fmla="*/ 460127 w 622934"/>
                <a:gd name="T75" fmla="*/ 42019 h 253365"/>
                <a:gd name="T76" fmla="*/ 443944 w 622934"/>
                <a:gd name="T77" fmla="*/ 25627 h 253365"/>
                <a:gd name="T78" fmla="*/ 413936 w 622934"/>
                <a:gd name="T79" fmla="*/ 7048 h 253365"/>
                <a:gd name="T80" fmla="*/ 377622 w 622934"/>
                <a:gd name="T81" fmla="*/ 0 h 253365"/>
                <a:gd name="T82" fmla="*/ 460127 w 622934"/>
                <a:gd name="T83" fmla="*/ 42019 h 253365"/>
                <a:gd name="T84" fmla="*/ 239060 w 622934"/>
                <a:gd name="T85" fmla="*/ 42019 h 253365"/>
                <a:gd name="T86" fmla="*/ 258480 w 622934"/>
                <a:gd name="T87" fmla="*/ 44392 h 253365"/>
                <a:gd name="T88" fmla="*/ 275841 w 622934"/>
                <a:gd name="T89" fmla="*/ 51023 h 253365"/>
                <a:gd name="T90" fmla="*/ 290816 w 622934"/>
                <a:gd name="T91" fmla="*/ 61177 h 253365"/>
                <a:gd name="T92" fmla="*/ 303079 w 622934"/>
                <a:gd name="T93" fmla="*/ 74123 h 253365"/>
                <a:gd name="T94" fmla="*/ 436667 w 622934"/>
                <a:gd name="T95" fmla="*/ 246966 h 253365"/>
                <a:gd name="T96" fmla="*/ 622452 w 622934"/>
                <a:gd name="T97" fmla="*/ 246966 h 253365"/>
                <a:gd name="T98" fmla="*/ 493932 w 622934"/>
                <a:gd name="T99" fmla="*/ 81976 h 253365"/>
                <a:gd name="T100" fmla="*/ 469869 w 622934"/>
                <a:gd name="T101" fmla="*/ 51886 h 253365"/>
                <a:gd name="T102" fmla="*/ 460127 w 622934"/>
                <a:gd name="T103" fmla="*/ 42019 h 2533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622934" h="253365">
                  <a:moveTo>
                    <a:pt x="311749" y="161838"/>
                  </a:moveTo>
                  <a:lnTo>
                    <a:pt x="293975" y="165393"/>
                  </a:lnTo>
                  <a:lnTo>
                    <a:pt x="279577" y="175112"/>
                  </a:lnTo>
                  <a:lnTo>
                    <a:pt x="269931" y="189570"/>
                  </a:lnTo>
                  <a:lnTo>
                    <a:pt x="266410" y="207344"/>
                  </a:lnTo>
                  <a:lnTo>
                    <a:pt x="269931" y="225042"/>
                  </a:lnTo>
                  <a:lnTo>
                    <a:pt x="279577" y="239516"/>
                  </a:lnTo>
                  <a:lnTo>
                    <a:pt x="293975" y="249286"/>
                  </a:lnTo>
                  <a:lnTo>
                    <a:pt x="311749" y="252871"/>
                  </a:lnTo>
                  <a:lnTo>
                    <a:pt x="329478" y="249286"/>
                  </a:lnTo>
                  <a:lnTo>
                    <a:pt x="343846" y="239516"/>
                  </a:lnTo>
                  <a:lnTo>
                    <a:pt x="353477" y="225042"/>
                  </a:lnTo>
                  <a:lnTo>
                    <a:pt x="356994" y="207344"/>
                  </a:lnTo>
                  <a:lnTo>
                    <a:pt x="353477" y="189570"/>
                  </a:lnTo>
                  <a:lnTo>
                    <a:pt x="343846" y="175112"/>
                  </a:lnTo>
                  <a:lnTo>
                    <a:pt x="329478" y="165393"/>
                  </a:lnTo>
                  <a:lnTo>
                    <a:pt x="311749" y="161838"/>
                  </a:lnTo>
                  <a:close/>
                </a:path>
                <a:path w="622934" h="253365">
                  <a:moveTo>
                    <a:pt x="377622" y="0"/>
                  </a:moveTo>
                  <a:lnTo>
                    <a:pt x="123713" y="0"/>
                  </a:lnTo>
                  <a:lnTo>
                    <a:pt x="75630" y="9709"/>
                  </a:lnTo>
                  <a:lnTo>
                    <a:pt x="36298" y="36182"/>
                  </a:lnTo>
                  <a:lnTo>
                    <a:pt x="9745" y="75431"/>
                  </a:lnTo>
                  <a:lnTo>
                    <a:pt x="0" y="123472"/>
                  </a:lnTo>
                  <a:lnTo>
                    <a:pt x="9745" y="171547"/>
                  </a:lnTo>
                  <a:lnTo>
                    <a:pt x="36298" y="210801"/>
                  </a:lnTo>
                  <a:lnTo>
                    <a:pt x="75630" y="237263"/>
                  </a:lnTo>
                  <a:lnTo>
                    <a:pt x="123713" y="246966"/>
                  </a:lnTo>
                  <a:lnTo>
                    <a:pt x="238819" y="246966"/>
                  </a:lnTo>
                  <a:lnTo>
                    <a:pt x="238819" y="203512"/>
                  </a:lnTo>
                  <a:lnTo>
                    <a:pt x="207431" y="197110"/>
                  </a:lnTo>
                  <a:lnTo>
                    <a:pt x="181724" y="179693"/>
                  </a:lnTo>
                  <a:lnTo>
                    <a:pt x="164354" y="153940"/>
                  </a:lnTo>
                  <a:lnTo>
                    <a:pt x="157974" y="122530"/>
                  </a:lnTo>
                  <a:lnTo>
                    <a:pt x="164358" y="91185"/>
                  </a:lnTo>
                  <a:lnTo>
                    <a:pt x="181754" y="65594"/>
                  </a:lnTo>
                  <a:lnTo>
                    <a:pt x="207533" y="48344"/>
                  </a:lnTo>
                  <a:lnTo>
                    <a:pt x="239060" y="42019"/>
                  </a:lnTo>
                  <a:lnTo>
                    <a:pt x="460127" y="42019"/>
                  </a:lnTo>
                  <a:lnTo>
                    <a:pt x="443944" y="25627"/>
                  </a:lnTo>
                  <a:lnTo>
                    <a:pt x="413936" y="7048"/>
                  </a:lnTo>
                  <a:lnTo>
                    <a:pt x="377622" y="0"/>
                  </a:lnTo>
                  <a:close/>
                </a:path>
                <a:path w="622934" h="253365">
                  <a:moveTo>
                    <a:pt x="460127" y="42019"/>
                  </a:moveTo>
                  <a:lnTo>
                    <a:pt x="239060" y="42019"/>
                  </a:lnTo>
                  <a:lnTo>
                    <a:pt x="258480" y="44392"/>
                  </a:lnTo>
                  <a:lnTo>
                    <a:pt x="275841" y="51023"/>
                  </a:lnTo>
                  <a:lnTo>
                    <a:pt x="290816" y="61177"/>
                  </a:lnTo>
                  <a:lnTo>
                    <a:pt x="303079" y="74123"/>
                  </a:lnTo>
                  <a:lnTo>
                    <a:pt x="436667" y="246966"/>
                  </a:lnTo>
                  <a:lnTo>
                    <a:pt x="622452" y="246966"/>
                  </a:lnTo>
                  <a:lnTo>
                    <a:pt x="493932" y="81976"/>
                  </a:lnTo>
                  <a:lnTo>
                    <a:pt x="469869" y="51886"/>
                  </a:lnTo>
                  <a:lnTo>
                    <a:pt x="460127" y="4201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endParaRPr lang="en-AU"/>
            </a:p>
          </p:txBody>
        </p:sp>
        <p:sp>
          <p:nvSpPr>
            <p:cNvPr id="9226" name="object 8">
              <a:extLst>
                <a:ext uri="{FF2B5EF4-FFF2-40B4-BE49-F238E27FC236}">
                  <a16:creationId xmlns:a16="http://schemas.microsoft.com/office/drawing/2014/main" id="{C868C210-4E2F-F9B2-9676-1057AC50641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253339" y="664144"/>
              <a:ext cx="2343785" cy="248920"/>
            </a:xfrm>
            <a:custGeom>
              <a:avLst/>
              <a:gdLst>
                <a:gd name="T0" fmla="*/ 1941815 w 2343784"/>
                <a:gd name="T1" fmla="*/ 0 h 248919"/>
                <a:gd name="T2" fmla="*/ 1822080 w 2343784"/>
                <a:gd name="T3" fmla="*/ 248892 h 248919"/>
                <a:gd name="T4" fmla="*/ 1940600 w 2343784"/>
                <a:gd name="T5" fmla="*/ 218255 h 248919"/>
                <a:gd name="T6" fmla="*/ 2285854 w 2343784"/>
                <a:gd name="T7" fmla="*/ 174465 h 248919"/>
                <a:gd name="T8" fmla="*/ 2035885 w 2343784"/>
                <a:gd name="T9" fmla="*/ 92594 h 248919"/>
                <a:gd name="T10" fmla="*/ 2150164 w 2343784"/>
                <a:gd name="T11" fmla="*/ 0 h 248919"/>
                <a:gd name="T12" fmla="*/ 2132950 w 2343784"/>
                <a:gd name="T13" fmla="*/ 218255 h 248919"/>
                <a:gd name="T14" fmla="*/ 2343740 w 2343784"/>
                <a:gd name="T15" fmla="*/ 248892 h 248919"/>
                <a:gd name="T16" fmla="*/ 2222179 w 2343784"/>
                <a:gd name="T17" fmla="*/ 92594 h 248919"/>
                <a:gd name="T18" fmla="*/ 2099161 w 2343784"/>
                <a:gd name="T19" fmla="*/ 174465 h 248919"/>
                <a:gd name="T20" fmla="*/ 2222179 w 2343784"/>
                <a:gd name="T21" fmla="*/ 92594 h 248919"/>
                <a:gd name="T22" fmla="*/ 1620568 w 2343784"/>
                <a:gd name="T23" fmla="*/ 10 h 248919"/>
                <a:gd name="T24" fmla="*/ 1777317 w 2343784"/>
                <a:gd name="T25" fmla="*/ 248892 h 248919"/>
                <a:gd name="T26" fmla="*/ 797410 w 2343784"/>
                <a:gd name="T27" fmla="*/ 0 h 248919"/>
                <a:gd name="T28" fmla="*/ 555281 w 2343784"/>
                <a:gd name="T29" fmla="*/ 248892 h 248919"/>
                <a:gd name="T30" fmla="*/ 857995 w 2343784"/>
                <a:gd name="T31" fmla="*/ 245674 h 248919"/>
                <a:gd name="T32" fmla="*/ 945541 w 2343784"/>
                <a:gd name="T33" fmla="*/ 219137 h 248919"/>
                <a:gd name="T34" fmla="*/ 712030 w 2343784"/>
                <a:gd name="T35" fmla="*/ 205103 h 248919"/>
                <a:gd name="T36" fmla="*/ 960511 w 2343784"/>
                <a:gd name="T37" fmla="*/ 43768 h 248919"/>
                <a:gd name="T38" fmla="*/ 907776 w 2343784"/>
                <a:gd name="T39" fmla="*/ 13542 h 248919"/>
                <a:gd name="T40" fmla="*/ 797410 w 2343784"/>
                <a:gd name="T41" fmla="*/ 0 h 248919"/>
                <a:gd name="T42" fmla="*/ 755914 w 2343784"/>
                <a:gd name="T43" fmla="*/ 43768 h 248919"/>
                <a:gd name="T44" fmla="*/ 818075 w 2343784"/>
                <a:gd name="T45" fmla="*/ 65507 h 248919"/>
                <a:gd name="T46" fmla="*/ 839000 w 2343784"/>
                <a:gd name="T47" fmla="*/ 124949 h 248919"/>
                <a:gd name="T48" fmla="*/ 818170 w 2343784"/>
                <a:gd name="T49" fmla="*/ 183873 h 248919"/>
                <a:gd name="T50" fmla="*/ 755914 w 2343784"/>
                <a:gd name="T51" fmla="*/ 205103 h 248919"/>
                <a:gd name="T52" fmla="*/ 972705 w 2343784"/>
                <a:gd name="T53" fmla="*/ 195295 h 248919"/>
                <a:gd name="T54" fmla="*/ 994315 w 2343784"/>
                <a:gd name="T55" fmla="*/ 125158 h 248919"/>
                <a:gd name="T56" fmla="*/ 972924 w 2343784"/>
                <a:gd name="T57" fmla="*/ 54898 h 248919"/>
                <a:gd name="T58" fmla="*/ 327979 w 2343784"/>
                <a:gd name="T59" fmla="*/ 0 h 248919"/>
                <a:gd name="T60" fmla="*/ 160497 w 2343784"/>
                <a:gd name="T61" fmla="*/ 52741 h 248919"/>
                <a:gd name="T62" fmla="*/ 93337 w 2343784"/>
                <a:gd name="T63" fmla="*/ 248892 h 248919"/>
                <a:gd name="T64" fmla="*/ 497873 w 2343784"/>
                <a:gd name="T65" fmla="*/ 218255 h 248919"/>
                <a:gd name="T66" fmla="*/ 148571 w 2343784"/>
                <a:gd name="T67" fmla="*/ 174465 h 248919"/>
                <a:gd name="T68" fmla="*/ 400056 w 2343784"/>
                <a:gd name="T69" fmla="*/ 92594 h 248919"/>
                <a:gd name="T70" fmla="*/ 497873 w 2343784"/>
                <a:gd name="T71" fmla="*/ 218255 h 248919"/>
                <a:gd name="T72" fmla="*/ 334492 w 2343784"/>
                <a:gd name="T73" fmla="*/ 248892 h 248919"/>
                <a:gd name="T74" fmla="*/ 497873 w 2343784"/>
                <a:gd name="T75" fmla="*/ 218255 h 248919"/>
                <a:gd name="T76" fmla="*/ 213784 w 2343784"/>
                <a:gd name="T77" fmla="*/ 92594 h 248919"/>
                <a:gd name="T78" fmla="*/ 463786 w 2343784"/>
                <a:gd name="T79" fmla="*/ 174465 h 248919"/>
                <a:gd name="T80" fmla="*/ 1407737 w 2343784"/>
                <a:gd name="T81" fmla="*/ 0 h 248919"/>
                <a:gd name="T82" fmla="*/ 1074229 w 2343784"/>
                <a:gd name="T83" fmla="*/ 248892 h 248919"/>
                <a:gd name="T84" fmla="*/ 1230758 w 2343784"/>
                <a:gd name="T85" fmla="*/ 43810 h 248919"/>
                <a:gd name="T86" fmla="*/ 1491127 w 2343784"/>
                <a:gd name="T87" fmla="*/ 24199 h 248919"/>
                <a:gd name="T88" fmla="*/ 1407737 w 2343784"/>
                <a:gd name="T89" fmla="*/ 0 h 248919"/>
                <a:gd name="T90" fmla="*/ 1301667 w 2343784"/>
                <a:gd name="T91" fmla="*/ 43810 h 248919"/>
                <a:gd name="T92" fmla="*/ 1345164 w 2343784"/>
                <a:gd name="T93" fmla="*/ 58186 h 248919"/>
                <a:gd name="T94" fmla="*/ 1358199 w 2343784"/>
                <a:gd name="T95" fmla="*/ 89337 h 248919"/>
                <a:gd name="T96" fmla="*/ 1337396 w 2343784"/>
                <a:gd name="T97" fmla="*/ 127009 h 248919"/>
                <a:gd name="T98" fmla="*/ 1297039 w 2343784"/>
                <a:gd name="T99" fmla="*/ 139849 h 248919"/>
                <a:gd name="T100" fmla="*/ 1335530 w 2343784"/>
                <a:gd name="T101" fmla="*/ 248892 h 248919"/>
                <a:gd name="T102" fmla="*/ 1460217 w 2343784"/>
                <a:gd name="T103" fmla="*/ 157534 h 248919"/>
                <a:gd name="T104" fmla="*/ 1503384 w 2343784"/>
                <a:gd name="T105" fmla="*/ 127971 h 248919"/>
                <a:gd name="T106" fmla="*/ 1518697 w 2343784"/>
                <a:gd name="T107" fmla="*/ 82395 h 248919"/>
                <a:gd name="T108" fmla="*/ 1506621 w 2343784"/>
                <a:gd name="T109" fmla="*/ 43810 h 2489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343784" h="248919">
                  <a:moveTo>
                    <a:pt x="2150164" y="0"/>
                  </a:moveTo>
                  <a:lnTo>
                    <a:pt x="1941815" y="0"/>
                  </a:lnTo>
                  <a:lnTo>
                    <a:pt x="1982683" y="52741"/>
                  </a:lnTo>
                  <a:lnTo>
                    <a:pt x="1822080" y="248892"/>
                  </a:lnTo>
                  <a:lnTo>
                    <a:pt x="1915418" y="248892"/>
                  </a:lnTo>
                  <a:lnTo>
                    <a:pt x="1940600" y="218255"/>
                  </a:lnTo>
                  <a:lnTo>
                    <a:pt x="2319911" y="218255"/>
                  </a:lnTo>
                  <a:lnTo>
                    <a:pt x="2285854" y="174465"/>
                  </a:lnTo>
                  <a:lnTo>
                    <a:pt x="1970400" y="174465"/>
                  </a:lnTo>
                  <a:lnTo>
                    <a:pt x="2035885" y="92594"/>
                  </a:lnTo>
                  <a:lnTo>
                    <a:pt x="2222179" y="92594"/>
                  </a:lnTo>
                  <a:lnTo>
                    <a:pt x="2150164" y="0"/>
                  </a:lnTo>
                  <a:close/>
                </a:path>
                <a:path w="2343784" h="248919">
                  <a:moveTo>
                    <a:pt x="2319911" y="218255"/>
                  </a:moveTo>
                  <a:lnTo>
                    <a:pt x="2132950" y="218255"/>
                  </a:lnTo>
                  <a:lnTo>
                    <a:pt x="2156583" y="248892"/>
                  </a:lnTo>
                  <a:lnTo>
                    <a:pt x="2343740" y="248892"/>
                  </a:lnTo>
                  <a:lnTo>
                    <a:pt x="2319911" y="218255"/>
                  </a:lnTo>
                  <a:close/>
                </a:path>
                <a:path w="2343784" h="248919">
                  <a:moveTo>
                    <a:pt x="2222179" y="92594"/>
                  </a:moveTo>
                  <a:lnTo>
                    <a:pt x="2035885" y="92594"/>
                  </a:lnTo>
                  <a:lnTo>
                    <a:pt x="2099161" y="174465"/>
                  </a:lnTo>
                  <a:lnTo>
                    <a:pt x="2285854" y="174465"/>
                  </a:lnTo>
                  <a:lnTo>
                    <a:pt x="2222179" y="92594"/>
                  </a:lnTo>
                  <a:close/>
                </a:path>
                <a:path w="2343784" h="248919">
                  <a:moveTo>
                    <a:pt x="1777317" y="10"/>
                  </a:moveTo>
                  <a:lnTo>
                    <a:pt x="1620568" y="10"/>
                  </a:lnTo>
                  <a:lnTo>
                    <a:pt x="1620568" y="248892"/>
                  </a:lnTo>
                  <a:lnTo>
                    <a:pt x="1777317" y="248892"/>
                  </a:lnTo>
                  <a:lnTo>
                    <a:pt x="1777317" y="10"/>
                  </a:lnTo>
                  <a:close/>
                </a:path>
                <a:path w="2343784" h="248919">
                  <a:moveTo>
                    <a:pt x="797410" y="0"/>
                  </a:moveTo>
                  <a:lnTo>
                    <a:pt x="555281" y="0"/>
                  </a:lnTo>
                  <a:lnTo>
                    <a:pt x="555281" y="248892"/>
                  </a:lnTo>
                  <a:lnTo>
                    <a:pt x="797410" y="248892"/>
                  </a:lnTo>
                  <a:lnTo>
                    <a:pt x="857995" y="245674"/>
                  </a:lnTo>
                  <a:lnTo>
                    <a:pt x="907338" y="235842"/>
                  </a:lnTo>
                  <a:lnTo>
                    <a:pt x="945541" y="219137"/>
                  </a:lnTo>
                  <a:lnTo>
                    <a:pt x="961530" y="205103"/>
                  </a:lnTo>
                  <a:lnTo>
                    <a:pt x="712030" y="205103"/>
                  </a:lnTo>
                  <a:lnTo>
                    <a:pt x="712030" y="43768"/>
                  </a:lnTo>
                  <a:lnTo>
                    <a:pt x="960511" y="43768"/>
                  </a:lnTo>
                  <a:lnTo>
                    <a:pt x="945910" y="30675"/>
                  </a:lnTo>
                  <a:lnTo>
                    <a:pt x="907776" y="13542"/>
                  </a:lnTo>
                  <a:lnTo>
                    <a:pt x="858336" y="3362"/>
                  </a:lnTo>
                  <a:lnTo>
                    <a:pt x="797410" y="0"/>
                  </a:lnTo>
                  <a:close/>
                </a:path>
                <a:path w="2343784" h="248919">
                  <a:moveTo>
                    <a:pt x="960511" y="43768"/>
                  </a:moveTo>
                  <a:lnTo>
                    <a:pt x="755914" y="43768"/>
                  </a:lnTo>
                  <a:lnTo>
                    <a:pt x="792092" y="49383"/>
                  </a:lnTo>
                  <a:lnTo>
                    <a:pt x="818075" y="65507"/>
                  </a:lnTo>
                  <a:lnTo>
                    <a:pt x="833750" y="91056"/>
                  </a:lnTo>
                  <a:lnTo>
                    <a:pt x="839000" y="124949"/>
                  </a:lnTo>
                  <a:lnTo>
                    <a:pt x="833785" y="158676"/>
                  </a:lnTo>
                  <a:lnTo>
                    <a:pt x="818170" y="183873"/>
                  </a:lnTo>
                  <a:lnTo>
                    <a:pt x="792198" y="199647"/>
                  </a:lnTo>
                  <a:lnTo>
                    <a:pt x="755914" y="205103"/>
                  </a:lnTo>
                  <a:lnTo>
                    <a:pt x="961530" y="205103"/>
                  </a:lnTo>
                  <a:lnTo>
                    <a:pt x="972705" y="195295"/>
                  </a:lnTo>
                  <a:lnTo>
                    <a:pt x="988929" y="164056"/>
                  </a:lnTo>
                  <a:lnTo>
                    <a:pt x="994315" y="125158"/>
                  </a:lnTo>
                  <a:lnTo>
                    <a:pt x="988997" y="86347"/>
                  </a:lnTo>
                  <a:lnTo>
                    <a:pt x="972924" y="54898"/>
                  </a:lnTo>
                  <a:lnTo>
                    <a:pt x="960511" y="43768"/>
                  </a:lnTo>
                  <a:close/>
                </a:path>
                <a:path w="2343784" h="248919">
                  <a:moveTo>
                    <a:pt x="327979" y="0"/>
                  </a:moveTo>
                  <a:lnTo>
                    <a:pt x="119734" y="0"/>
                  </a:lnTo>
                  <a:lnTo>
                    <a:pt x="160497" y="52741"/>
                  </a:lnTo>
                  <a:lnTo>
                    <a:pt x="0" y="248892"/>
                  </a:lnTo>
                  <a:lnTo>
                    <a:pt x="93337" y="248892"/>
                  </a:lnTo>
                  <a:lnTo>
                    <a:pt x="118519" y="218255"/>
                  </a:lnTo>
                  <a:lnTo>
                    <a:pt x="497873" y="218255"/>
                  </a:lnTo>
                  <a:lnTo>
                    <a:pt x="463786" y="174465"/>
                  </a:lnTo>
                  <a:lnTo>
                    <a:pt x="148571" y="174465"/>
                  </a:lnTo>
                  <a:lnTo>
                    <a:pt x="213784" y="92594"/>
                  </a:lnTo>
                  <a:lnTo>
                    <a:pt x="400056" y="92594"/>
                  </a:lnTo>
                  <a:lnTo>
                    <a:pt x="327979" y="0"/>
                  </a:lnTo>
                  <a:close/>
                </a:path>
                <a:path w="2343784" h="248919">
                  <a:moveTo>
                    <a:pt x="497873" y="218255"/>
                  </a:moveTo>
                  <a:lnTo>
                    <a:pt x="310849" y="218255"/>
                  </a:lnTo>
                  <a:lnTo>
                    <a:pt x="334492" y="248892"/>
                  </a:lnTo>
                  <a:lnTo>
                    <a:pt x="521722" y="248892"/>
                  </a:lnTo>
                  <a:lnTo>
                    <a:pt x="497873" y="218255"/>
                  </a:lnTo>
                  <a:close/>
                </a:path>
                <a:path w="2343784" h="248919">
                  <a:moveTo>
                    <a:pt x="400056" y="92594"/>
                  </a:moveTo>
                  <a:lnTo>
                    <a:pt x="213784" y="92594"/>
                  </a:lnTo>
                  <a:lnTo>
                    <a:pt x="276986" y="174465"/>
                  </a:lnTo>
                  <a:lnTo>
                    <a:pt x="463786" y="174465"/>
                  </a:lnTo>
                  <a:lnTo>
                    <a:pt x="400056" y="92594"/>
                  </a:lnTo>
                  <a:close/>
                </a:path>
                <a:path w="2343784" h="248919">
                  <a:moveTo>
                    <a:pt x="1407737" y="0"/>
                  </a:moveTo>
                  <a:lnTo>
                    <a:pt x="1074229" y="0"/>
                  </a:lnTo>
                  <a:lnTo>
                    <a:pt x="1074229" y="248892"/>
                  </a:lnTo>
                  <a:lnTo>
                    <a:pt x="1230758" y="248892"/>
                  </a:lnTo>
                  <a:lnTo>
                    <a:pt x="1230758" y="43810"/>
                  </a:lnTo>
                  <a:lnTo>
                    <a:pt x="1506621" y="43810"/>
                  </a:lnTo>
                  <a:lnTo>
                    <a:pt x="1491127" y="24199"/>
                  </a:lnTo>
                  <a:lnTo>
                    <a:pt x="1456473" y="6499"/>
                  </a:lnTo>
                  <a:lnTo>
                    <a:pt x="1407737" y="0"/>
                  </a:lnTo>
                  <a:close/>
                </a:path>
                <a:path w="2343784" h="248919">
                  <a:moveTo>
                    <a:pt x="1506621" y="43810"/>
                  </a:moveTo>
                  <a:lnTo>
                    <a:pt x="1301667" y="43810"/>
                  </a:lnTo>
                  <a:lnTo>
                    <a:pt x="1327635" y="47778"/>
                  </a:lnTo>
                  <a:lnTo>
                    <a:pt x="1345164" y="58186"/>
                  </a:lnTo>
                  <a:lnTo>
                    <a:pt x="1355078" y="72788"/>
                  </a:lnTo>
                  <a:lnTo>
                    <a:pt x="1358199" y="89337"/>
                  </a:lnTo>
                  <a:lnTo>
                    <a:pt x="1352309" y="111197"/>
                  </a:lnTo>
                  <a:lnTo>
                    <a:pt x="1337396" y="127009"/>
                  </a:lnTo>
                  <a:lnTo>
                    <a:pt x="1317594" y="136612"/>
                  </a:lnTo>
                  <a:lnTo>
                    <a:pt x="1297039" y="139849"/>
                  </a:lnTo>
                  <a:lnTo>
                    <a:pt x="1275835" y="139849"/>
                  </a:lnTo>
                  <a:lnTo>
                    <a:pt x="1335530" y="248892"/>
                  </a:lnTo>
                  <a:lnTo>
                    <a:pt x="1531209" y="248892"/>
                  </a:lnTo>
                  <a:lnTo>
                    <a:pt x="1460217" y="157534"/>
                  </a:lnTo>
                  <a:lnTo>
                    <a:pt x="1485023" y="145015"/>
                  </a:lnTo>
                  <a:lnTo>
                    <a:pt x="1503384" y="127971"/>
                  </a:lnTo>
                  <a:lnTo>
                    <a:pt x="1514782" y="106924"/>
                  </a:lnTo>
                  <a:lnTo>
                    <a:pt x="1518697" y="82395"/>
                  </a:lnTo>
                  <a:lnTo>
                    <a:pt x="1511826" y="50398"/>
                  </a:lnTo>
                  <a:lnTo>
                    <a:pt x="1506621" y="4381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endParaRPr lang="en-AU"/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60" r:id="rId1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>
          <a:solidFill>
            <a:schemeClr val="tx2"/>
          </a:solidFill>
          <a:latin typeface="Calibri" panose="020F0502020204030204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>
          <a:solidFill>
            <a:schemeClr val="tx2"/>
          </a:solidFill>
          <a:latin typeface="Calibri" panose="020F0502020204030204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>
          <a:solidFill>
            <a:schemeClr val="tx2"/>
          </a:solidFill>
          <a:latin typeface="Calibri" panose="020F0502020204030204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>
          <a:solidFill>
            <a:schemeClr val="tx2"/>
          </a:solidFill>
          <a:latin typeface="Calibri" panose="020F0502020204030204" pitchFamily="34" charset="0"/>
        </a:defRPr>
      </a:lvl5pPr>
      <a:lvl6pPr marL="457200" algn="ctr" rtl="0" eaLnBrk="0" fontAlgn="base" hangingPunct="0">
        <a:spcBef>
          <a:spcPct val="0"/>
        </a:spcBef>
        <a:spcAft>
          <a:spcPct val="0"/>
        </a:spcAft>
        <a:defRPr>
          <a:solidFill>
            <a:schemeClr val="tx2"/>
          </a:solidFill>
          <a:latin typeface="Calibri" panose="020F0502020204030204" pitchFamily="34" charset="0"/>
        </a:defRPr>
      </a:lvl6pPr>
      <a:lvl7pPr marL="914400" algn="ctr" rtl="0" eaLnBrk="0" fontAlgn="base" hangingPunct="0">
        <a:spcBef>
          <a:spcPct val="0"/>
        </a:spcBef>
        <a:spcAft>
          <a:spcPct val="0"/>
        </a:spcAft>
        <a:defRPr>
          <a:solidFill>
            <a:schemeClr val="tx2"/>
          </a:solidFill>
          <a:latin typeface="Calibri" panose="020F0502020204030204" pitchFamily="34" charset="0"/>
        </a:defRPr>
      </a:lvl7pPr>
      <a:lvl8pPr marL="1371600" algn="ctr" rtl="0" eaLnBrk="0" fontAlgn="base" hangingPunct="0">
        <a:spcBef>
          <a:spcPct val="0"/>
        </a:spcBef>
        <a:spcAft>
          <a:spcPct val="0"/>
        </a:spcAft>
        <a:defRPr>
          <a:solidFill>
            <a:schemeClr val="tx2"/>
          </a:solidFill>
          <a:latin typeface="Calibri" panose="020F0502020204030204" pitchFamily="34" charset="0"/>
        </a:defRPr>
      </a:lvl8pPr>
      <a:lvl9pPr marL="1828800" algn="ctr" rtl="0" eaLnBrk="0" fontAlgn="base" hangingPunct="0">
        <a:spcBef>
          <a:spcPct val="0"/>
        </a:spcBef>
        <a:spcAft>
          <a:spcPct val="0"/>
        </a:spcAft>
        <a:defRPr>
          <a:solidFill>
            <a:schemeClr val="tx2"/>
          </a:solidFill>
          <a:latin typeface="Calibri" panose="020F0502020204030204" pitchFamily="34" charset="0"/>
        </a:defRPr>
      </a:lvl9pPr>
    </p:titleStyle>
    <p:bodyStyle>
      <a:lvl1pPr algn="l" rtl="0" eaLnBrk="0" fontAlgn="base" hangingPunct="0">
        <a:spcBef>
          <a:spcPct val="20000"/>
        </a:spcBef>
        <a:spcAft>
          <a:spcPct val="0"/>
        </a:spcAft>
        <a:defRPr>
          <a:solidFill>
            <a:schemeClr val="tx1"/>
          </a:solidFill>
          <a:latin typeface="Helvetica" pitchFamily="2" charset="0"/>
          <a:ea typeface="+mn-ea"/>
          <a:cs typeface="+mn-cs"/>
        </a:defRPr>
      </a:lvl1pPr>
      <a:lvl2pPr marL="457200" algn="l" rtl="0" eaLnBrk="0" fontAlgn="base" hangingPunct="0">
        <a:spcBef>
          <a:spcPct val="20000"/>
        </a:spcBef>
        <a:spcAft>
          <a:spcPct val="0"/>
        </a:spcAft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0" fontAlgn="base" hangingPunct="0">
        <a:spcBef>
          <a:spcPct val="20000"/>
        </a:spcBef>
        <a:spcAft>
          <a:spcPct val="0"/>
        </a:spcAft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0" fontAlgn="base" hangingPunct="0">
        <a:spcBef>
          <a:spcPct val="20000"/>
        </a:spcBef>
        <a:spcAft>
          <a:spcPct val="0"/>
        </a:spcAft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0" fontAlgn="base" hangingPunct="0">
        <a:spcBef>
          <a:spcPct val="20000"/>
        </a:spcBef>
        <a:spcAft>
          <a:spcPct val="0"/>
        </a:spcAft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.png"/><Relationship Id="rId5" Type="http://schemas.openxmlformats.org/officeDocument/2006/relationships/image" Target="../media/image10.png"/><Relationship Id="rId4" Type="http://schemas.openxmlformats.org/officeDocument/2006/relationships/image" Target="../media/image9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7.xml"/><Relationship Id="rId6" Type="http://schemas.openxmlformats.org/officeDocument/2006/relationships/image" Target="../media/image4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26.bin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značba mesta besedila 1">
            <a:extLst>
              <a:ext uri="{FF2B5EF4-FFF2-40B4-BE49-F238E27FC236}">
                <a16:creationId xmlns:a16="http://schemas.microsoft.com/office/drawing/2014/main" id="{942CD829-2FF9-F8B7-A18D-3AF54FCBA31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sl-SI"/>
          </a:p>
        </p:txBody>
      </p:sp>
      <p:sp>
        <p:nvSpPr>
          <p:cNvPr id="3" name="Označba mesta besedila 2">
            <a:extLst>
              <a:ext uri="{FF2B5EF4-FFF2-40B4-BE49-F238E27FC236}">
                <a16:creationId xmlns:a16="http://schemas.microsoft.com/office/drawing/2014/main" id="{D6A0B658-534A-8479-F73C-CA7E86E2ECE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sl-SI"/>
          </a:p>
        </p:txBody>
      </p:sp>
      <p:pic>
        <p:nvPicPr>
          <p:cNvPr id="4" name="Slika 3">
            <a:extLst>
              <a:ext uri="{FF2B5EF4-FFF2-40B4-BE49-F238E27FC236}">
                <a16:creationId xmlns:a16="http://schemas.microsoft.com/office/drawing/2014/main" id="{181AA5BB-719A-2B52-3AFA-F1D6FAEB911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718" y="0"/>
            <a:ext cx="20104817" cy="11307630"/>
          </a:xfrm>
          <a:prstGeom prst="rect">
            <a:avLst/>
          </a:prstGeom>
        </p:spPr>
      </p:pic>
      <p:pic>
        <p:nvPicPr>
          <p:cNvPr id="5" name="Slika 4">
            <a:extLst>
              <a:ext uri="{FF2B5EF4-FFF2-40B4-BE49-F238E27FC236}">
                <a16:creationId xmlns:a16="http://schemas.microsoft.com/office/drawing/2014/main" id="{8C9B4FC7-FDCA-B096-2350-4A8A9A09D47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995650" y="473075"/>
            <a:ext cx="3554894" cy="5240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730828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testo 1">
            <a:extLst>
              <a:ext uri="{FF2B5EF4-FFF2-40B4-BE49-F238E27FC236}">
                <a16:creationId xmlns:a16="http://schemas.microsoft.com/office/drawing/2014/main" id="{2FA230F1-013D-DC9A-22C7-90DC2B26050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79450" y="384116"/>
            <a:ext cx="2362200" cy="800219"/>
          </a:xfrm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sl-SI" dirty="0"/>
              <a:t>AVIVA LITE</a:t>
            </a:r>
            <a:endParaRPr lang="it-IT" dirty="0"/>
          </a:p>
        </p:txBody>
      </p:sp>
      <p:sp>
        <p:nvSpPr>
          <p:cNvPr id="4" name="Segnaposto testo 2">
            <a:extLst>
              <a:ext uri="{FF2B5EF4-FFF2-40B4-BE49-F238E27FC236}">
                <a16:creationId xmlns:a16="http://schemas.microsoft.com/office/drawing/2014/main" id="{05564BF8-19C3-6D87-56A7-7C2F0FFA8A39}"/>
              </a:ext>
            </a:extLst>
          </p:cNvPr>
          <p:cNvSpPr txBox="1">
            <a:spLocks/>
          </p:cNvSpPr>
          <p:nvPr/>
        </p:nvSpPr>
        <p:spPr>
          <a:xfrm>
            <a:off x="3041650" y="549275"/>
            <a:ext cx="8986838" cy="469900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>
            <a:lvl1pPr>
              <a:defRPr sz="3050" b="0" i="0" spc="0">
                <a:solidFill>
                  <a:schemeClr val="bg1"/>
                </a:solidFill>
                <a:latin typeface="Helvetica Light" panose="020B0403020202020204" pitchFamily="34" charset="0"/>
              </a:defRPr>
            </a:lvl1pPr>
            <a:lvl2pPr marL="457200">
              <a:defRPr>
                <a:latin typeface="+mn-lt"/>
                <a:ea typeface="+mn-ea"/>
                <a:cs typeface="+mn-cs"/>
              </a:defRPr>
            </a:lvl2pPr>
            <a:lvl3pPr marL="914400">
              <a:defRPr>
                <a:latin typeface="+mn-lt"/>
                <a:ea typeface="+mn-ea"/>
                <a:cs typeface="+mn-cs"/>
              </a:defRPr>
            </a:lvl3pPr>
            <a:lvl4pPr marL="1371600">
              <a:defRPr>
                <a:latin typeface="+mn-lt"/>
                <a:ea typeface="+mn-ea"/>
                <a:cs typeface="+mn-cs"/>
              </a:defRPr>
            </a:lvl4pPr>
            <a:lvl5pPr marL="1828800">
              <a:defRPr>
                <a:latin typeface="+mn-lt"/>
                <a:ea typeface="+mn-ea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pPr defTabSz="914357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sl-SI" sz="3051" dirty="0">
                <a:solidFill>
                  <a:prstClr val="white"/>
                </a:solidFill>
              </a:rPr>
              <a:t>HIGHLIGHTS</a:t>
            </a:r>
            <a:endParaRPr lang="it-IT" sz="3051" dirty="0">
              <a:solidFill>
                <a:prstClr val="white"/>
              </a:solidFill>
            </a:endParaRPr>
          </a:p>
        </p:txBody>
      </p:sp>
      <p:sp>
        <p:nvSpPr>
          <p:cNvPr id="5" name="PoljeZBesedilom 4">
            <a:extLst>
              <a:ext uri="{FF2B5EF4-FFF2-40B4-BE49-F238E27FC236}">
                <a16:creationId xmlns:a16="http://schemas.microsoft.com/office/drawing/2014/main" id="{1736382C-729A-AD55-7759-88AC940475B9}"/>
              </a:ext>
            </a:extLst>
          </p:cNvPr>
          <p:cNvSpPr txBox="1"/>
          <p:nvPr/>
        </p:nvSpPr>
        <p:spPr>
          <a:xfrm>
            <a:off x="524418" y="3588414"/>
            <a:ext cx="9527632" cy="203132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57200" indent="-457200" defTabSz="914357" eaLnBrk="1" fontAlgn="auto" hangingPunct="1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/>
            </a:pPr>
            <a:r>
              <a:rPr lang="sl-SI" sz="2400" b="1" dirty="0">
                <a:solidFill>
                  <a:srgbClr val="FF0000"/>
                </a:solidFill>
                <a:latin typeface="Raleway" panose="020B0503030101060003" pitchFamily="34" charset="-18"/>
              </a:rPr>
              <a:t>NEW</a:t>
            </a:r>
            <a:r>
              <a:rPr lang="sl-SI" sz="2400" b="1" dirty="0">
                <a:solidFill>
                  <a:srgbClr val="C00000"/>
                </a:solidFill>
                <a:latin typeface="Raleway" panose="020B0503030101060003" pitchFamily="34" charset="-18"/>
              </a:rPr>
              <a:t> </a:t>
            </a:r>
            <a:r>
              <a:rPr lang="sl-SI" sz="2400" dirty="0" err="1">
                <a:solidFill>
                  <a:prstClr val="black"/>
                </a:solidFill>
                <a:latin typeface="Raleway" panose="020B0503030101060003" pitchFamily="34" charset="-18"/>
              </a:rPr>
              <a:t>floorplan</a:t>
            </a:r>
            <a:r>
              <a:rPr lang="sl-SI" sz="2400" dirty="0">
                <a:solidFill>
                  <a:prstClr val="black"/>
                </a:solidFill>
                <a:latin typeface="Raleway" panose="020B0503030101060003" pitchFamily="34" charset="-18"/>
              </a:rPr>
              <a:t> 300LH – </a:t>
            </a:r>
            <a:r>
              <a:rPr lang="sl-SI" sz="2400" dirty="0" err="1">
                <a:solidFill>
                  <a:prstClr val="black"/>
                </a:solidFill>
                <a:latin typeface="Raleway" panose="020B0503030101060003" pitchFamily="34" charset="-18"/>
              </a:rPr>
              <a:t>lightweight</a:t>
            </a:r>
            <a:r>
              <a:rPr lang="sl-SI" sz="2400" dirty="0">
                <a:solidFill>
                  <a:prstClr val="black"/>
                </a:solidFill>
                <a:latin typeface="Raleway" panose="020B0503030101060003" pitchFamily="34" charset="-18"/>
              </a:rPr>
              <a:t> &amp; </a:t>
            </a:r>
            <a:r>
              <a:rPr lang="sl-SI" sz="2400" dirty="0" err="1">
                <a:solidFill>
                  <a:prstClr val="black"/>
                </a:solidFill>
                <a:latin typeface="Raleway" panose="020B0503030101060003" pitchFamily="34" charset="-18"/>
              </a:rPr>
              <a:t>entry</a:t>
            </a:r>
            <a:r>
              <a:rPr lang="sl-SI" sz="2400" dirty="0">
                <a:solidFill>
                  <a:prstClr val="black"/>
                </a:solidFill>
                <a:latin typeface="Raleway" panose="020B0503030101060003" pitchFamily="34" charset="-18"/>
              </a:rPr>
              <a:t> </a:t>
            </a:r>
            <a:r>
              <a:rPr lang="sl-SI" sz="2400" dirty="0" err="1">
                <a:solidFill>
                  <a:prstClr val="black"/>
                </a:solidFill>
                <a:latin typeface="Raleway" panose="020B0503030101060003" pitchFamily="34" charset="-18"/>
              </a:rPr>
              <a:t>price</a:t>
            </a:r>
            <a:r>
              <a:rPr lang="sl-SI" sz="2400" dirty="0">
                <a:solidFill>
                  <a:prstClr val="black"/>
                </a:solidFill>
                <a:latin typeface="Raleway" panose="020B0503030101060003" pitchFamily="34" charset="-18"/>
              </a:rPr>
              <a:t> range</a:t>
            </a:r>
          </a:p>
          <a:p>
            <a:pPr defTabSz="914357" eaLnBrk="1" fontAlgn="auto" hangingPunct="1">
              <a:spcBef>
                <a:spcPts val="0"/>
              </a:spcBef>
              <a:spcAft>
                <a:spcPts val="1200"/>
              </a:spcAft>
              <a:defRPr/>
            </a:pPr>
            <a:endParaRPr lang="sl-SI" sz="2400" dirty="0">
              <a:solidFill>
                <a:prstClr val="black"/>
              </a:solidFill>
              <a:latin typeface="Raleway" panose="020B0503030101060003" pitchFamily="34" charset="-18"/>
            </a:endParaRPr>
          </a:p>
          <a:p>
            <a:pPr defTabSz="914357" eaLnBrk="1" fontAlgn="auto" hangingPunct="1">
              <a:spcBef>
                <a:spcPts val="0"/>
              </a:spcBef>
              <a:spcAft>
                <a:spcPts val="1200"/>
              </a:spcAft>
              <a:defRPr/>
            </a:pPr>
            <a:endParaRPr lang="sl-SI" sz="2400" b="1" dirty="0">
              <a:solidFill>
                <a:prstClr val="black"/>
              </a:solidFill>
              <a:latin typeface="Raleway" panose="020B0503030101060003" pitchFamily="34" charset="-18"/>
            </a:endParaRPr>
          </a:p>
          <a:p>
            <a:pPr marL="457200" indent="-457200" defTabSz="914357" eaLnBrk="1" fontAlgn="auto" hangingPunct="1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/>
            </a:pPr>
            <a:r>
              <a:rPr lang="sl-SI" sz="2400" b="1" dirty="0">
                <a:solidFill>
                  <a:srgbClr val="FF0000"/>
                </a:solidFill>
                <a:latin typeface="Raleway" panose="020B0503030101060003" pitchFamily="34" charset="-18"/>
              </a:rPr>
              <a:t>NEW</a:t>
            </a:r>
            <a:r>
              <a:rPr lang="sl-SI" sz="2400" b="1" dirty="0">
                <a:solidFill>
                  <a:prstClr val="black"/>
                </a:solidFill>
                <a:latin typeface="Raleway" panose="020B0503030101060003" pitchFamily="34" charset="-18"/>
              </a:rPr>
              <a:t> </a:t>
            </a:r>
            <a:r>
              <a:rPr lang="en-US" sz="2400" dirty="0">
                <a:solidFill>
                  <a:prstClr val="black"/>
                </a:solidFill>
                <a:latin typeface="Raleway" panose="020B0503030101060003" pitchFamily="34" charset="-18"/>
              </a:rPr>
              <a:t>led light  above the kitchen worktop</a:t>
            </a:r>
            <a:endParaRPr lang="sl-SI" sz="2400" dirty="0">
              <a:solidFill>
                <a:prstClr val="black"/>
              </a:solidFill>
              <a:latin typeface="Raleway" panose="020B0503030101060003" pitchFamily="34" charset="-18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E0249AE-AABF-DAA0-F9CC-9016576D25C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75250" y="-58166"/>
            <a:ext cx="1676400" cy="16847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Slika 6">
            <a:extLst>
              <a:ext uri="{FF2B5EF4-FFF2-40B4-BE49-F238E27FC236}">
                <a16:creationId xmlns:a16="http://schemas.microsoft.com/office/drawing/2014/main" id="{28567C1B-0043-0CC4-67DF-AB7E2FB12183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51235" t="47410" b="1456"/>
          <a:stretch/>
        </p:blipFill>
        <p:spPr>
          <a:xfrm>
            <a:off x="11499850" y="2225675"/>
            <a:ext cx="5490696" cy="3657600"/>
          </a:xfrm>
          <a:prstGeom prst="rect">
            <a:avLst/>
          </a:prstGeom>
        </p:spPr>
      </p:pic>
      <p:pic>
        <p:nvPicPr>
          <p:cNvPr id="14" name="Slika 13">
            <a:extLst>
              <a:ext uri="{FF2B5EF4-FFF2-40B4-BE49-F238E27FC236}">
                <a16:creationId xmlns:a16="http://schemas.microsoft.com/office/drawing/2014/main" id="{46EAE651-1613-72C5-260D-6FB02314956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3938250" y="5929414"/>
            <a:ext cx="3073016" cy="48011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591058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testo 1">
            <a:extLst>
              <a:ext uri="{FF2B5EF4-FFF2-40B4-BE49-F238E27FC236}">
                <a16:creationId xmlns:a16="http://schemas.microsoft.com/office/drawing/2014/main" id="{D0369001-E95C-819E-A5C6-FD7CE3CF3FB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82084" y="585267"/>
            <a:ext cx="7173008" cy="400110"/>
          </a:xfrm>
        </p:spPr>
        <p:txBody>
          <a:bodyPr/>
          <a:lstStyle/>
          <a:p>
            <a:r>
              <a:rPr lang="it-IT" dirty="0"/>
              <a:t>A</a:t>
            </a:r>
            <a:r>
              <a:rPr lang="sl-SI" dirty="0"/>
              <a:t>VIVA LITE</a:t>
            </a:r>
            <a:endParaRPr lang="it-IT" dirty="0">
              <a:solidFill>
                <a:srgbClr val="FFC000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BEA3E38-F4D2-A43D-6E88-0561B98711A2}"/>
              </a:ext>
            </a:extLst>
          </p:cNvPr>
          <p:cNvSpPr txBox="1"/>
          <p:nvPr/>
        </p:nvSpPr>
        <p:spPr>
          <a:xfrm>
            <a:off x="4342407" y="2966778"/>
            <a:ext cx="1515844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230"/>
            <a:r>
              <a:rPr lang="en-US" sz="2400" dirty="0">
                <a:solidFill>
                  <a:prstClr val="black"/>
                </a:solidFill>
                <a:latin typeface="Raleway" panose="020B0503030101060003" pitchFamily="34" charset="-18"/>
              </a:rPr>
              <a:t>Two layouts, designed with flexible space and portable features, allow you to tailor the space to your specific needs.</a:t>
            </a:r>
            <a:endParaRPr lang="en-GB" sz="2400" dirty="0">
              <a:solidFill>
                <a:prstClr val="black"/>
              </a:solidFill>
              <a:latin typeface="Raleway" panose="020B0503030101060003" pitchFamily="34" charset="-18"/>
            </a:endParaRPr>
          </a:p>
        </p:txBody>
      </p:sp>
      <p:pic>
        <p:nvPicPr>
          <p:cNvPr id="7" name="Slika 6">
            <a:extLst>
              <a:ext uri="{FF2B5EF4-FFF2-40B4-BE49-F238E27FC236}">
                <a16:creationId xmlns:a16="http://schemas.microsoft.com/office/drawing/2014/main" id="{2E99C27D-26CC-9296-DEA0-74233558B55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698771" y="1143562"/>
            <a:ext cx="5469648" cy="3646431"/>
          </a:xfrm>
          <a:prstGeom prst="rect">
            <a:avLst/>
          </a:prstGeom>
        </p:spPr>
      </p:pic>
      <p:pic>
        <p:nvPicPr>
          <p:cNvPr id="1026" name="Picture 2">
            <a:extLst>
              <a:ext uri="{FF2B5EF4-FFF2-40B4-BE49-F238E27FC236}">
                <a16:creationId xmlns:a16="http://schemas.microsoft.com/office/drawing/2014/main" id="{EDECE8E6-0832-DFAB-2D88-D590C6E204F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77094" y="6613209"/>
            <a:ext cx="4035834" cy="20058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Slika 4">
            <a:extLst>
              <a:ext uri="{FF2B5EF4-FFF2-40B4-BE49-F238E27FC236}">
                <a16:creationId xmlns:a16="http://schemas.microsoft.com/office/drawing/2014/main" id="{CB0359EC-2EEB-7418-6A10-DB8E45263009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b="64626"/>
          <a:stretch/>
        </p:blipFill>
        <p:spPr>
          <a:xfrm>
            <a:off x="4561462" y="5174663"/>
            <a:ext cx="3672479" cy="1116698"/>
          </a:xfrm>
          <a:prstGeom prst="rect">
            <a:avLst/>
          </a:prstGeom>
        </p:spPr>
      </p:pic>
      <p:pic>
        <p:nvPicPr>
          <p:cNvPr id="9" name="Slika 8">
            <a:extLst>
              <a:ext uri="{FF2B5EF4-FFF2-40B4-BE49-F238E27FC236}">
                <a16:creationId xmlns:a16="http://schemas.microsoft.com/office/drawing/2014/main" id="{BCA41F53-322B-5D7D-6183-1F7501692E13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b="64626"/>
          <a:stretch/>
        </p:blipFill>
        <p:spPr>
          <a:xfrm>
            <a:off x="10140504" y="5185752"/>
            <a:ext cx="3672479" cy="1116698"/>
          </a:xfrm>
          <a:prstGeom prst="rect">
            <a:avLst/>
          </a:prstGeom>
        </p:spPr>
      </p:pic>
      <p:grpSp>
        <p:nvGrpSpPr>
          <p:cNvPr id="12" name="Skupina 11">
            <a:extLst>
              <a:ext uri="{FF2B5EF4-FFF2-40B4-BE49-F238E27FC236}">
                <a16:creationId xmlns:a16="http://schemas.microsoft.com/office/drawing/2014/main" id="{7D546F82-4CAC-9868-A183-183059DD34EE}"/>
              </a:ext>
            </a:extLst>
          </p:cNvPr>
          <p:cNvGrpSpPr/>
          <p:nvPr/>
        </p:nvGrpSpPr>
        <p:grpSpPr>
          <a:xfrm>
            <a:off x="9747250" y="5050567"/>
            <a:ext cx="1894311" cy="523220"/>
            <a:chOff x="9975849" y="4552055"/>
            <a:chExt cx="1894311" cy="523220"/>
          </a:xfrm>
        </p:grpSpPr>
        <p:sp>
          <p:nvSpPr>
            <p:cNvPr id="11" name="Pravokotnik 10">
              <a:extLst>
                <a:ext uri="{FF2B5EF4-FFF2-40B4-BE49-F238E27FC236}">
                  <a16:creationId xmlns:a16="http://schemas.microsoft.com/office/drawing/2014/main" id="{525527E2-D685-D332-E118-56F25DBE964F}"/>
                </a:ext>
              </a:extLst>
            </p:cNvPr>
            <p:cNvSpPr/>
            <p:nvPr/>
          </p:nvSpPr>
          <p:spPr>
            <a:xfrm>
              <a:off x="9975849" y="4655655"/>
              <a:ext cx="1894311" cy="387698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l-SI"/>
            </a:p>
          </p:txBody>
        </p:sp>
        <p:sp>
          <p:nvSpPr>
            <p:cNvPr id="10" name="PoljeZBesedilom 9">
              <a:extLst>
                <a:ext uri="{FF2B5EF4-FFF2-40B4-BE49-F238E27FC236}">
                  <a16:creationId xmlns:a16="http://schemas.microsoft.com/office/drawing/2014/main" id="{41CF0D28-DF68-414F-D170-3D4D2A14F6EC}"/>
                </a:ext>
              </a:extLst>
            </p:cNvPr>
            <p:cNvSpPr txBox="1"/>
            <p:nvPr/>
          </p:nvSpPr>
          <p:spPr>
            <a:xfrm>
              <a:off x="10356850" y="4552055"/>
              <a:ext cx="1513310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sl-SI" sz="2800" dirty="0">
                  <a:solidFill>
                    <a:srgbClr val="595959"/>
                  </a:solidFill>
                  <a:latin typeface="HelveticaNeueLT Pro 65 Md" panose="020B0604020202020204" pitchFamily="34" charset="-18"/>
                </a:rPr>
                <a:t>300 LH</a:t>
              </a:r>
            </a:p>
          </p:txBody>
        </p:sp>
      </p:grpSp>
      <p:grpSp>
        <p:nvGrpSpPr>
          <p:cNvPr id="15" name="Skupina 14">
            <a:extLst>
              <a:ext uri="{FF2B5EF4-FFF2-40B4-BE49-F238E27FC236}">
                <a16:creationId xmlns:a16="http://schemas.microsoft.com/office/drawing/2014/main" id="{8BC3F2E5-6F79-BABE-9953-8CA6EC281C32}"/>
              </a:ext>
            </a:extLst>
          </p:cNvPr>
          <p:cNvGrpSpPr/>
          <p:nvPr/>
        </p:nvGrpSpPr>
        <p:grpSpPr>
          <a:xfrm>
            <a:off x="4184650" y="5055255"/>
            <a:ext cx="1894311" cy="523220"/>
            <a:chOff x="9975849" y="4552055"/>
            <a:chExt cx="1894311" cy="523220"/>
          </a:xfrm>
        </p:grpSpPr>
        <p:sp>
          <p:nvSpPr>
            <p:cNvPr id="16" name="Pravokotnik 15">
              <a:extLst>
                <a:ext uri="{FF2B5EF4-FFF2-40B4-BE49-F238E27FC236}">
                  <a16:creationId xmlns:a16="http://schemas.microsoft.com/office/drawing/2014/main" id="{70031E30-DFA1-EFE5-4E76-5DFDFD15D178}"/>
                </a:ext>
              </a:extLst>
            </p:cNvPr>
            <p:cNvSpPr/>
            <p:nvPr/>
          </p:nvSpPr>
          <p:spPr>
            <a:xfrm>
              <a:off x="9975849" y="4655655"/>
              <a:ext cx="1894311" cy="387698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l-SI"/>
            </a:p>
          </p:txBody>
        </p:sp>
        <p:sp>
          <p:nvSpPr>
            <p:cNvPr id="17" name="PoljeZBesedilom 16">
              <a:extLst>
                <a:ext uri="{FF2B5EF4-FFF2-40B4-BE49-F238E27FC236}">
                  <a16:creationId xmlns:a16="http://schemas.microsoft.com/office/drawing/2014/main" id="{2723C68F-0BBD-8024-974B-B71627EAE7E8}"/>
                </a:ext>
              </a:extLst>
            </p:cNvPr>
            <p:cNvSpPr txBox="1"/>
            <p:nvPr/>
          </p:nvSpPr>
          <p:spPr>
            <a:xfrm>
              <a:off x="10356850" y="4552055"/>
              <a:ext cx="1513310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sl-SI" sz="2800" dirty="0">
                  <a:solidFill>
                    <a:srgbClr val="595959"/>
                  </a:solidFill>
                  <a:latin typeface="HelveticaNeueLT Pro 65 Md" panose="020B0604020202020204" pitchFamily="34" charset="-18"/>
                </a:rPr>
                <a:t>360 DK</a:t>
              </a:r>
            </a:p>
          </p:txBody>
        </p:sp>
      </p:grpSp>
      <p:pic>
        <p:nvPicPr>
          <p:cNvPr id="19" name="Slika 18">
            <a:extLst>
              <a:ext uri="{FF2B5EF4-FFF2-40B4-BE49-F238E27FC236}">
                <a16:creationId xmlns:a16="http://schemas.microsoft.com/office/drawing/2014/main" id="{87822243-047C-362F-7513-773E3E33FDD9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8093"/>
          <a:stretch/>
        </p:blipFill>
        <p:spPr>
          <a:xfrm>
            <a:off x="9747250" y="6437635"/>
            <a:ext cx="4129922" cy="2428872"/>
          </a:xfrm>
          <a:prstGeom prst="rect">
            <a:avLst/>
          </a:prstGeom>
        </p:spPr>
      </p:pic>
      <p:grpSp>
        <p:nvGrpSpPr>
          <p:cNvPr id="22" name="Skupina 21">
            <a:extLst>
              <a:ext uri="{FF2B5EF4-FFF2-40B4-BE49-F238E27FC236}">
                <a16:creationId xmlns:a16="http://schemas.microsoft.com/office/drawing/2014/main" id="{7E89844B-615B-B7D8-C1C2-66183555302C}"/>
              </a:ext>
            </a:extLst>
          </p:cNvPr>
          <p:cNvGrpSpPr/>
          <p:nvPr/>
        </p:nvGrpSpPr>
        <p:grpSpPr>
          <a:xfrm>
            <a:off x="10112654" y="5736045"/>
            <a:ext cx="1143242" cy="661332"/>
            <a:chOff x="9975849" y="4655655"/>
            <a:chExt cx="1894311" cy="524332"/>
          </a:xfrm>
        </p:grpSpPr>
        <p:sp>
          <p:nvSpPr>
            <p:cNvPr id="23" name="Pravokotnik 22">
              <a:extLst>
                <a:ext uri="{FF2B5EF4-FFF2-40B4-BE49-F238E27FC236}">
                  <a16:creationId xmlns:a16="http://schemas.microsoft.com/office/drawing/2014/main" id="{72FC7546-29B3-DFBC-0ACE-AE427F082E1E}"/>
                </a:ext>
              </a:extLst>
            </p:cNvPr>
            <p:cNvSpPr/>
            <p:nvPr/>
          </p:nvSpPr>
          <p:spPr>
            <a:xfrm>
              <a:off x="9975849" y="4655655"/>
              <a:ext cx="1894311" cy="387698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l-SI"/>
            </a:p>
          </p:txBody>
        </p:sp>
        <p:sp>
          <p:nvSpPr>
            <p:cNvPr id="24" name="PoljeZBesedilom 23">
              <a:extLst>
                <a:ext uri="{FF2B5EF4-FFF2-40B4-BE49-F238E27FC236}">
                  <a16:creationId xmlns:a16="http://schemas.microsoft.com/office/drawing/2014/main" id="{C8E5C0FF-65F1-2D12-6D66-3AE9B90053CF}"/>
                </a:ext>
              </a:extLst>
            </p:cNvPr>
            <p:cNvSpPr txBox="1"/>
            <p:nvPr/>
          </p:nvSpPr>
          <p:spPr>
            <a:xfrm>
              <a:off x="10115872" y="4656767"/>
              <a:ext cx="1513310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sl-SI" sz="2800" dirty="0">
                  <a:solidFill>
                    <a:srgbClr val="595959"/>
                  </a:solidFill>
                  <a:latin typeface="HelveticaNeueLT Pro 65 Md" panose="020B0604020202020204" pitchFamily="34" charset="-18"/>
                </a:rPr>
                <a:t>2+1</a:t>
              </a:r>
            </a:p>
          </p:txBody>
        </p:sp>
      </p:grpSp>
      <p:pic>
        <p:nvPicPr>
          <p:cNvPr id="8" name="Picture 2">
            <a:extLst>
              <a:ext uri="{FF2B5EF4-FFF2-40B4-BE49-F238E27FC236}">
                <a16:creationId xmlns:a16="http://schemas.microsoft.com/office/drawing/2014/main" id="{19A0BE53-995E-722A-98C5-D176CFEEBD1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92668" y="4083143"/>
            <a:ext cx="1676282" cy="1684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4" name="Skupina 13">
            <a:extLst>
              <a:ext uri="{FF2B5EF4-FFF2-40B4-BE49-F238E27FC236}">
                <a16:creationId xmlns:a16="http://schemas.microsoft.com/office/drawing/2014/main" id="{C83EBB38-6F4E-DBE2-86D0-C01A5611B00E}"/>
              </a:ext>
            </a:extLst>
          </p:cNvPr>
          <p:cNvGrpSpPr/>
          <p:nvPr/>
        </p:nvGrpSpPr>
        <p:grpSpPr>
          <a:xfrm>
            <a:off x="4573222" y="5659088"/>
            <a:ext cx="1143242" cy="524623"/>
            <a:chOff x="9975849" y="4655655"/>
            <a:chExt cx="1894311" cy="415943"/>
          </a:xfrm>
        </p:grpSpPr>
        <p:sp>
          <p:nvSpPr>
            <p:cNvPr id="18" name="Pravokotnik 17">
              <a:extLst>
                <a:ext uri="{FF2B5EF4-FFF2-40B4-BE49-F238E27FC236}">
                  <a16:creationId xmlns:a16="http://schemas.microsoft.com/office/drawing/2014/main" id="{F91237CC-EB92-19DC-6143-CB8185A43260}"/>
                </a:ext>
              </a:extLst>
            </p:cNvPr>
            <p:cNvSpPr/>
            <p:nvPr/>
          </p:nvSpPr>
          <p:spPr>
            <a:xfrm>
              <a:off x="9975849" y="4655655"/>
              <a:ext cx="1894311" cy="387698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l-SI"/>
            </a:p>
          </p:txBody>
        </p:sp>
        <p:sp>
          <p:nvSpPr>
            <p:cNvPr id="20" name="PoljeZBesedilom 19">
              <a:extLst>
                <a:ext uri="{FF2B5EF4-FFF2-40B4-BE49-F238E27FC236}">
                  <a16:creationId xmlns:a16="http://schemas.microsoft.com/office/drawing/2014/main" id="{666F402A-784E-3051-A1D1-15A227AB3D42}"/>
                </a:ext>
              </a:extLst>
            </p:cNvPr>
            <p:cNvSpPr txBox="1"/>
            <p:nvPr/>
          </p:nvSpPr>
          <p:spPr>
            <a:xfrm>
              <a:off x="10115872" y="4656767"/>
              <a:ext cx="1513310" cy="4148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sl-SI" sz="2800" dirty="0">
                  <a:solidFill>
                    <a:srgbClr val="595959"/>
                  </a:solidFill>
                  <a:latin typeface="HelveticaNeueLT Pro 65 Md" panose="020B0604020202020204" pitchFamily="34" charset="-18"/>
                </a:rPr>
                <a:t>4</a:t>
              </a:r>
            </a:p>
          </p:txBody>
        </p:sp>
      </p:grpSp>
      <p:sp>
        <p:nvSpPr>
          <p:cNvPr id="6" name="Segnaposto testo 2">
            <a:extLst>
              <a:ext uri="{FF2B5EF4-FFF2-40B4-BE49-F238E27FC236}">
                <a16:creationId xmlns:a16="http://schemas.microsoft.com/office/drawing/2014/main" id="{EFF34330-0AD1-5ABC-071F-B834AC1AB618}"/>
              </a:ext>
            </a:extLst>
          </p:cNvPr>
          <p:cNvSpPr txBox="1">
            <a:spLocks/>
          </p:cNvSpPr>
          <p:nvPr/>
        </p:nvSpPr>
        <p:spPr>
          <a:xfrm>
            <a:off x="3216625" y="549275"/>
            <a:ext cx="8986838" cy="469900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>
            <a:lvl1pPr>
              <a:defRPr sz="3050" b="0" i="0" spc="0">
                <a:solidFill>
                  <a:schemeClr val="bg1"/>
                </a:solidFill>
                <a:latin typeface="Helvetica Light" panose="020B0403020202020204" pitchFamily="34" charset="0"/>
              </a:defRPr>
            </a:lvl1pPr>
            <a:lvl2pPr marL="457200">
              <a:defRPr>
                <a:latin typeface="+mn-lt"/>
                <a:ea typeface="+mn-ea"/>
                <a:cs typeface="+mn-cs"/>
              </a:defRPr>
            </a:lvl2pPr>
            <a:lvl3pPr marL="914400">
              <a:defRPr>
                <a:latin typeface="+mn-lt"/>
                <a:ea typeface="+mn-ea"/>
                <a:cs typeface="+mn-cs"/>
              </a:defRPr>
            </a:lvl3pPr>
            <a:lvl4pPr marL="1371600">
              <a:defRPr>
                <a:latin typeface="+mn-lt"/>
                <a:ea typeface="+mn-ea"/>
                <a:cs typeface="+mn-cs"/>
              </a:defRPr>
            </a:lvl4pPr>
            <a:lvl5pPr marL="1828800">
              <a:defRPr>
                <a:latin typeface="+mn-lt"/>
                <a:ea typeface="+mn-ea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pPr defTabSz="914357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sl-SI" sz="3051" dirty="0">
                <a:solidFill>
                  <a:prstClr val="white"/>
                </a:solidFill>
              </a:rPr>
              <a:t>DESIGNED FOR YOU</a:t>
            </a:r>
            <a:endParaRPr lang="it-IT" sz="3051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0790807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700" name="TextBox 5">
            <a:extLst>
              <a:ext uri="{FF2B5EF4-FFF2-40B4-BE49-F238E27FC236}">
                <a16:creationId xmlns:a16="http://schemas.microsoft.com/office/drawing/2014/main" id="{23756BF4-494E-39BB-A222-3E5DC3B1DA5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79450" y="2116930"/>
            <a:ext cx="7924800" cy="5755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defTabSz="912813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912813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912813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912813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912813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/>
            <a:endParaRPr lang="en-GB" altLang="sl-SI" sz="4000" dirty="0">
              <a:solidFill>
                <a:srgbClr val="000000"/>
              </a:solidFill>
              <a:latin typeface="Raleway" panose="020B0503030101060003" pitchFamily="34" charset="-18"/>
            </a:endParaRPr>
          </a:p>
          <a:p>
            <a:pPr eaLnBrk="1" hangingPunct="1"/>
            <a:r>
              <a:rPr lang="en-GB" altLang="sl-SI" sz="4000" b="1" dirty="0">
                <a:solidFill>
                  <a:srgbClr val="000000"/>
                </a:solidFill>
                <a:latin typeface="Raleway" panose="020B0503030101060003" pitchFamily="34" charset="-18"/>
              </a:rPr>
              <a:t>NEW AVIVA LITE</a:t>
            </a:r>
            <a:r>
              <a:rPr lang="sl-SI" altLang="sl-SI" sz="4000" b="1" dirty="0">
                <a:solidFill>
                  <a:srgbClr val="000000"/>
                </a:solidFill>
                <a:latin typeface="Raleway" panose="020B0503030101060003" pitchFamily="34" charset="-18"/>
              </a:rPr>
              <a:t> 300 LH</a:t>
            </a:r>
            <a:endParaRPr lang="en-GB" altLang="sl-SI" sz="4000" b="1" dirty="0">
              <a:solidFill>
                <a:srgbClr val="000000"/>
              </a:solidFill>
              <a:latin typeface="Raleway" panose="020B0503030101060003" pitchFamily="34" charset="-18"/>
            </a:endParaRPr>
          </a:p>
          <a:p>
            <a:pPr eaLnBrk="1" hangingPunct="1"/>
            <a:endParaRPr lang="en-GB" altLang="sl-SI" sz="4000" b="1" dirty="0">
              <a:solidFill>
                <a:srgbClr val="000000"/>
              </a:solidFill>
              <a:latin typeface="Raleway" panose="020B0503030101060003" pitchFamily="34" charset="-18"/>
            </a:endParaRPr>
          </a:p>
          <a:p>
            <a:pPr eaLnBrk="1" hangingPunct="1"/>
            <a:r>
              <a:rPr lang="en-GB" altLang="sl-SI" sz="2400" dirty="0">
                <a:solidFill>
                  <a:srgbClr val="000000"/>
                </a:solidFill>
                <a:latin typeface="Raleway" panose="020B0503030101060003" pitchFamily="34" charset="-18"/>
              </a:rPr>
              <a:t>A </a:t>
            </a:r>
            <a:r>
              <a:rPr lang="en-GB" altLang="sl-SI" sz="2400" b="1" dirty="0">
                <a:solidFill>
                  <a:srgbClr val="C00000"/>
                </a:solidFill>
                <a:latin typeface="Raleway" panose="020B0503030101060003" pitchFamily="34" charset="-18"/>
              </a:rPr>
              <a:t>NEW</a:t>
            </a:r>
            <a:r>
              <a:rPr lang="sl-SI" altLang="sl-SI" sz="2400" dirty="0">
                <a:latin typeface="Raleway" panose="020B0503030101060003" pitchFamily="34" charset="-18"/>
              </a:rPr>
              <a:t> 300LH  is most </a:t>
            </a:r>
            <a:r>
              <a:rPr lang="sl-SI" altLang="sl-SI" sz="2400" dirty="0" err="1">
                <a:latin typeface="Raleway" panose="020B0503030101060003" pitchFamily="34" charset="-18"/>
              </a:rPr>
              <a:t>compact</a:t>
            </a:r>
            <a:r>
              <a:rPr lang="sl-SI" altLang="sl-SI" sz="2400" dirty="0">
                <a:latin typeface="Raleway" panose="020B0503030101060003" pitchFamily="34" charset="-18"/>
              </a:rPr>
              <a:t> </a:t>
            </a:r>
            <a:r>
              <a:rPr lang="sl-SI" altLang="sl-SI" sz="2400" dirty="0" err="1">
                <a:latin typeface="Raleway" panose="020B0503030101060003" pitchFamily="34" charset="-18"/>
              </a:rPr>
              <a:t>layout</a:t>
            </a:r>
            <a:r>
              <a:rPr lang="sl-SI" altLang="sl-SI" sz="2400" dirty="0">
                <a:latin typeface="Raleway" panose="020B0503030101060003" pitchFamily="34" charset="-18"/>
              </a:rPr>
              <a:t> </a:t>
            </a:r>
            <a:r>
              <a:rPr lang="sl-SI" altLang="sl-SI" sz="2400" dirty="0" err="1">
                <a:latin typeface="Raleway" panose="020B0503030101060003" pitchFamily="34" charset="-18"/>
              </a:rPr>
              <a:t>of</a:t>
            </a:r>
            <a:r>
              <a:rPr lang="sl-SI" altLang="sl-SI" sz="2400" dirty="0">
                <a:latin typeface="Raleway" panose="020B0503030101060003" pitchFamily="34" charset="-18"/>
              </a:rPr>
              <a:t> </a:t>
            </a:r>
            <a:r>
              <a:rPr lang="sl-SI" altLang="sl-SI" sz="2400" dirty="0" err="1">
                <a:latin typeface="Raleway" panose="020B0503030101060003" pitchFamily="34" charset="-18"/>
              </a:rPr>
              <a:t>caravans</a:t>
            </a:r>
            <a:r>
              <a:rPr lang="sl-SI" altLang="sl-SI" sz="2400" dirty="0">
                <a:latin typeface="Raleway" panose="020B0503030101060003" pitchFamily="34" charset="-18"/>
              </a:rPr>
              <a:t>. It </a:t>
            </a:r>
            <a:r>
              <a:rPr lang="sl-SI" altLang="sl-SI" sz="2400" dirty="0" err="1">
                <a:latin typeface="Raleway" panose="020B0503030101060003" pitchFamily="34" charset="-18"/>
              </a:rPr>
              <a:t>adresses</a:t>
            </a:r>
            <a:r>
              <a:rPr lang="sl-SI" altLang="sl-SI" sz="2400" dirty="0">
                <a:latin typeface="Raleway" panose="020B0503030101060003" pitchFamily="34" charset="-18"/>
              </a:rPr>
              <a:t> </a:t>
            </a:r>
            <a:r>
              <a:rPr lang="sl-SI" altLang="sl-SI" sz="2400" dirty="0" err="1">
                <a:latin typeface="Raleway" panose="020B0503030101060003" pitchFamily="34" charset="-18"/>
              </a:rPr>
              <a:t>all</a:t>
            </a:r>
            <a:r>
              <a:rPr lang="sl-SI" altLang="sl-SI" sz="2400" dirty="0">
                <a:latin typeface="Raleway" panose="020B0503030101060003" pitchFamily="34" charset="-18"/>
              </a:rPr>
              <a:t> </a:t>
            </a:r>
            <a:r>
              <a:rPr lang="sl-SI" altLang="sl-SI" sz="2400" dirty="0" err="1">
                <a:latin typeface="Raleway" panose="020B0503030101060003" pitchFamily="34" charset="-18"/>
              </a:rPr>
              <a:t>with</a:t>
            </a:r>
            <a:r>
              <a:rPr lang="sl-SI" altLang="sl-SI" sz="2400" dirty="0">
                <a:latin typeface="Raleway" panose="020B0503030101060003" pitchFamily="34" charset="-18"/>
              </a:rPr>
              <a:t> </a:t>
            </a:r>
            <a:r>
              <a:rPr lang="sl-SI" altLang="sl-SI" sz="2400" dirty="0" err="1">
                <a:latin typeface="Raleway" panose="020B0503030101060003" pitchFamily="34" charset="-18"/>
              </a:rPr>
              <a:t>strong</a:t>
            </a:r>
            <a:r>
              <a:rPr lang="sl-SI" altLang="sl-SI" sz="2400" dirty="0">
                <a:latin typeface="Raleway" panose="020B0503030101060003" pitchFamily="34" charset="-18"/>
              </a:rPr>
              <a:t> </a:t>
            </a:r>
            <a:r>
              <a:rPr lang="sl-SI" altLang="sl-SI" sz="2400" dirty="0" err="1">
                <a:latin typeface="Raleway" panose="020B0503030101060003" pitchFamily="34" charset="-18"/>
              </a:rPr>
              <a:t>essential</a:t>
            </a:r>
            <a:r>
              <a:rPr lang="sl-SI" altLang="sl-SI" sz="2400" dirty="0">
                <a:latin typeface="Raleway" panose="020B0503030101060003" pitchFamily="34" charset="-18"/>
              </a:rPr>
              <a:t> </a:t>
            </a:r>
            <a:r>
              <a:rPr lang="sl-SI" altLang="sl-SI" sz="2400" dirty="0" err="1">
                <a:latin typeface="Raleway" panose="020B0503030101060003" pitchFamily="34" charset="-18"/>
              </a:rPr>
              <a:t>demand</a:t>
            </a:r>
            <a:r>
              <a:rPr lang="sl-SI" altLang="sl-SI" sz="2400" dirty="0">
                <a:latin typeface="Raleway" panose="020B0503030101060003" pitchFamily="34" charset="-18"/>
              </a:rPr>
              <a:t> </a:t>
            </a:r>
            <a:r>
              <a:rPr lang="sl-SI" altLang="sl-SI" sz="2400" dirty="0" err="1">
                <a:latin typeface="Raleway" panose="020B0503030101060003" pitchFamily="34" charset="-18"/>
              </a:rPr>
              <a:t>of</a:t>
            </a:r>
            <a:r>
              <a:rPr lang="sl-SI" altLang="sl-SI" sz="2400" dirty="0">
                <a:latin typeface="Raleway" panose="020B0503030101060003" pitchFamily="34" charset="-18"/>
              </a:rPr>
              <a:t> </a:t>
            </a:r>
            <a:r>
              <a:rPr lang="sl-SI" altLang="sl-SI" sz="2400" dirty="0" err="1">
                <a:latin typeface="Raleway" panose="020B0503030101060003" pitchFamily="34" charset="-18"/>
              </a:rPr>
              <a:t>lightweight</a:t>
            </a:r>
            <a:r>
              <a:rPr lang="sl-SI" altLang="sl-SI" sz="2400" dirty="0">
                <a:latin typeface="Raleway" panose="020B0503030101060003" pitchFamily="34" charset="-18"/>
              </a:rPr>
              <a:t> </a:t>
            </a:r>
            <a:r>
              <a:rPr lang="sl-SI" altLang="sl-SI" sz="2400" dirty="0" err="1">
                <a:latin typeface="Raleway" panose="020B0503030101060003" pitchFamily="34" charset="-18"/>
              </a:rPr>
              <a:t>easy</a:t>
            </a:r>
            <a:r>
              <a:rPr lang="sl-SI" altLang="sl-SI" sz="2400" dirty="0">
                <a:latin typeface="Raleway" panose="020B0503030101060003" pitchFamily="34" charset="-18"/>
              </a:rPr>
              <a:t> </a:t>
            </a:r>
            <a:r>
              <a:rPr lang="sl-SI" altLang="sl-SI" sz="2400" dirty="0" err="1">
                <a:latin typeface="Raleway" panose="020B0503030101060003" pitchFamily="34" charset="-18"/>
              </a:rPr>
              <a:t>maneuvrable</a:t>
            </a:r>
            <a:r>
              <a:rPr lang="sl-SI" altLang="sl-SI" sz="2400" dirty="0">
                <a:latin typeface="Raleway" panose="020B0503030101060003" pitchFamily="34" charset="-18"/>
              </a:rPr>
              <a:t> </a:t>
            </a:r>
            <a:r>
              <a:rPr lang="sl-SI" altLang="sl-SI" sz="2400" dirty="0" err="1">
                <a:latin typeface="Raleway" panose="020B0503030101060003" pitchFamily="34" charset="-18"/>
              </a:rPr>
              <a:t>caravan</a:t>
            </a:r>
            <a:r>
              <a:rPr lang="sl-SI" altLang="sl-SI" sz="2400" dirty="0">
                <a:latin typeface="Raleway" panose="020B0503030101060003" pitchFamily="34" charset="-18"/>
              </a:rPr>
              <a:t> in </a:t>
            </a:r>
            <a:r>
              <a:rPr lang="sl-SI" altLang="sl-SI" sz="2400" b="1" u="sng" dirty="0" err="1">
                <a:latin typeface="Raleway" panose="020B0503030101060003" pitchFamily="34" charset="-18"/>
              </a:rPr>
              <a:t>afordable</a:t>
            </a:r>
            <a:r>
              <a:rPr lang="sl-SI" altLang="sl-SI" sz="2400" dirty="0">
                <a:latin typeface="Raleway" panose="020B0503030101060003" pitchFamily="34" charset="-18"/>
              </a:rPr>
              <a:t> </a:t>
            </a:r>
            <a:r>
              <a:rPr lang="sl-SI" altLang="sl-SI" sz="2400" dirty="0" err="1">
                <a:latin typeface="Raleway" panose="020B0503030101060003" pitchFamily="34" charset="-18"/>
              </a:rPr>
              <a:t>price</a:t>
            </a:r>
            <a:r>
              <a:rPr lang="sl-SI" altLang="sl-SI" sz="2400" dirty="0">
                <a:latin typeface="Raleway" panose="020B0503030101060003" pitchFamily="34" charset="-18"/>
              </a:rPr>
              <a:t> </a:t>
            </a:r>
            <a:r>
              <a:rPr lang="sl-SI" altLang="sl-SI" sz="2400" dirty="0" err="1">
                <a:latin typeface="Raleway" panose="020B0503030101060003" pitchFamily="34" charset="-18"/>
              </a:rPr>
              <a:t>and</a:t>
            </a:r>
            <a:r>
              <a:rPr lang="sl-SI" altLang="sl-SI" sz="2400" dirty="0">
                <a:latin typeface="Raleway" panose="020B0503030101060003" pitchFamily="34" charset="-18"/>
              </a:rPr>
              <a:t> in </a:t>
            </a:r>
            <a:r>
              <a:rPr lang="sl-SI" altLang="sl-SI" sz="2400" dirty="0" err="1">
                <a:latin typeface="Raleway" panose="020B0503030101060003" pitchFamily="34" charset="-18"/>
              </a:rPr>
              <a:t>this</a:t>
            </a:r>
            <a:r>
              <a:rPr lang="sl-SI" altLang="sl-SI" sz="2400" dirty="0">
                <a:latin typeface="Raleway" panose="020B0503030101060003" pitchFamily="34" charset="-18"/>
              </a:rPr>
              <a:t> </a:t>
            </a:r>
            <a:r>
              <a:rPr lang="sl-SI" altLang="sl-SI" sz="2400" dirty="0" err="1">
                <a:latin typeface="Raleway" panose="020B0503030101060003" pitchFamily="34" charset="-18"/>
              </a:rPr>
              <a:t>manner</a:t>
            </a:r>
            <a:r>
              <a:rPr lang="sl-SI" altLang="sl-SI" sz="2400" dirty="0">
                <a:latin typeface="Raleway" panose="020B0503030101060003" pitchFamily="34" charset="-18"/>
              </a:rPr>
              <a:t> </a:t>
            </a:r>
            <a:r>
              <a:rPr lang="sl-SI" altLang="sl-SI" sz="2400" dirty="0" err="1">
                <a:latin typeface="Raleway" panose="020B0503030101060003" pitchFamily="34" charset="-18"/>
              </a:rPr>
              <a:t>appeals</a:t>
            </a:r>
            <a:r>
              <a:rPr lang="sl-SI" altLang="sl-SI" sz="2400" dirty="0">
                <a:latin typeface="Raleway" panose="020B0503030101060003" pitchFamily="34" charset="-18"/>
              </a:rPr>
              <a:t> in </a:t>
            </a:r>
            <a:r>
              <a:rPr lang="sl-SI" altLang="sl-SI" sz="2400" dirty="0" err="1">
                <a:latin typeface="Raleway" panose="020B0503030101060003" pitchFamily="34" charset="-18"/>
              </a:rPr>
              <a:t>potential</a:t>
            </a:r>
            <a:r>
              <a:rPr lang="sl-SI" altLang="sl-SI" sz="2400" dirty="0">
                <a:latin typeface="Raleway" panose="020B0503030101060003" pitchFamily="34" charset="-18"/>
              </a:rPr>
              <a:t> </a:t>
            </a:r>
            <a:r>
              <a:rPr lang="sl-SI" altLang="sl-SI" sz="2400" dirty="0" err="1">
                <a:latin typeface="Raleway" panose="020B0503030101060003" pitchFamily="34" charset="-18"/>
              </a:rPr>
              <a:t>newcomers</a:t>
            </a:r>
            <a:r>
              <a:rPr lang="sl-SI" altLang="sl-SI" sz="2400" dirty="0">
                <a:latin typeface="Raleway" panose="020B0503030101060003" pitchFamily="34" charset="-18"/>
              </a:rPr>
              <a:t>. </a:t>
            </a:r>
            <a:r>
              <a:rPr lang="sl-SI" altLang="sl-SI" sz="2400" dirty="0">
                <a:solidFill>
                  <a:srgbClr val="000000"/>
                </a:solidFill>
                <a:latin typeface="Raleway" panose="020B0503030101060003" pitchFamily="34" charset="-18"/>
              </a:rPr>
              <a:t>I</a:t>
            </a:r>
            <a:r>
              <a:rPr lang="en-GB" altLang="sl-SI" sz="2400" dirty="0">
                <a:solidFill>
                  <a:srgbClr val="000000"/>
                </a:solidFill>
                <a:latin typeface="Raleway" panose="020B0503030101060003" pitchFamily="34" charset="-18"/>
              </a:rPr>
              <a:t>n a compact, light weight</a:t>
            </a:r>
            <a:r>
              <a:rPr lang="sl-SI" altLang="sl-SI" sz="2400" dirty="0">
                <a:solidFill>
                  <a:srgbClr val="000000"/>
                </a:solidFill>
                <a:latin typeface="Raleway" panose="020B0503030101060003" pitchFamily="34" charset="-18"/>
              </a:rPr>
              <a:t> (O1)</a:t>
            </a:r>
            <a:r>
              <a:rPr lang="en-GB" altLang="sl-SI" sz="2400" dirty="0">
                <a:solidFill>
                  <a:srgbClr val="000000"/>
                </a:solidFill>
                <a:latin typeface="Raleway" panose="020B0503030101060003" pitchFamily="34" charset="-18"/>
              </a:rPr>
              <a:t>, minimalistic and simple caravan, with a </a:t>
            </a:r>
            <a:r>
              <a:rPr lang="en-GB" altLang="sl-SI" sz="2400" b="1" dirty="0">
                <a:solidFill>
                  <a:srgbClr val="000000"/>
                </a:solidFill>
                <a:latin typeface="Raleway" panose="020B0503030101060003" pitchFamily="34" charset="-18"/>
              </a:rPr>
              <a:t>cool funky design and </a:t>
            </a:r>
            <a:r>
              <a:rPr lang="sl-SI" altLang="sl-SI" sz="2400" b="1" dirty="0" err="1">
                <a:solidFill>
                  <a:srgbClr val="000000"/>
                </a:solidFill>
                <a:latin typeface="Raleway" panose="020B0503030101060003" pitchFamily="34" charset="-18"/>
              </a:rPr>
              <a:t>all</a:t>
            </a:r>
            <a:r>
              <a:rPr lang="sl-SI" altLang="sl-SI" sz="2400" b="1" dirty="0">
                <a:solidFill>
                  <a:srgbClr val="000000"/>
                </a:solidFill>
                <a:latin typeface="Raleway" panose="020B0503030101060003" pitchFamily="34" charset="-18"/>
              </a:rPr>
              <a:t> </a:t>
            </a:r>
            <a:r>
              <a:rPr lang="sl-SI" altLang="sl-SI" sz="2400" b="1" dirty="0" err="1">
                <a:solidFill>
                  <a:srgbClr val="000000"/>
                </a:solidFill>
                <a:latin typeface="Raleway" panose="020B0503030101060003" pitchFamily="34" charset="-18"/>
              </a:rPr>
              <a:t>essential</a:t>
            </a:r>
            <a:r>
              <a:rPr lang="sl-SI" altLang="sl-SI" sz="2400" b="1" dirty="0">
                <a:solidFill>
                  <a:srgbClr val="000000"/>
                </a:solidFill>
                <a:latin typeface="Raleway" panose="020B0503030101060003" pitchFamily="34" charset="-18"/>
              </a:rPr>
              <a:t> </a:t>
            </a:r>
            <a:r>
              <a:rPr lang="en-GB" altLang="sl-SI" sz="2400" b="1" dirty="0">
                <a:solidFill>
                  <a:srgbClr val="000000"/>
                </a:solidFill>
                <a:latin typeface="Raleway" panose="020B0503030101060003" pitchFamily="34" charset="-18"/>
              </a:rPr>
              <a:t>features</a:t>
            </a:r>
            <a:r>
              <a:rPr lang="sl-SI" altLang="sl-SI" sz="2400" b="1" dirty="0">
                <a:solidFill>
                  <a:srgbClr val="000000"/>
                </a:solidFill>
                <a:latin typeface="Raleway" panose="020B0503030101060003" pitchFamily="34" charset="-18"/>
              </a:rPr>
              <a:t> </a:t>
            </a:r>
            <a:r>
              <a:rPr lang="sl-SI" altLang="sl-SI" sz="2400" b="1" dirty="0" err="1">
                <a:solidFill>
                  <a:srgbClr val="000000"/>
                </a:solidFill>
                <a:latin typeface="Raleway" panose="020B0503030101060003" pitchFamily="34" charset="-18"/>
              </a:rPr>
              <a:t>you</a:t>
            </a:r>
            <a:r>
              <a:rPr lang="sl-SI" altLang="sl-SI" sz="2400" b="1" dirty="0">
                <a:solidFill>
                  <a:srgbClr val="000000"/>
                </a:solidFill>
                <a:latin typeface="Raleway" panose="020B0503030101060003" pitchFamily="34" charset="-18"/>
              </a:rPr>
              <a:t> </a:t>
            </a:r>
            <a:r>
              <a:rPr lang="sl-SI" altLang="sl-SI" sz="2400" b="1" dirty="0" err="1">
                <a:solidFill>
                  <a:srgbClr val="000000"/>
                </a:solidFill>
                <a:latin typeface="Raleway" panose="020B0503030101060003" pitchFamily="34" charset="-18"/>
              </a:rPr>
              <a:t>need</a:t>
            </a:r>
            <a:r>
              <a:rPr lang="sl-SI" altLang="sl-SI" sz="2400" b="1" dirty="0">
                <a:solidFill>
                  <a:srgbClr val="000000"/>
                </a:solidFill>
                <a:latin typeface="Raleway" panose="020B0503030101060003" pitchFamily="34" charset="-18"/>
              </a:rPr>
              <a:t>.</a:t>
            </a:r>
            <a:endParaRPr lang="en-GB" altLang="sl-SI" sz="2400" b="1" dirty="0">
              <a:solidFill>
                <a:srgbClr val="000000"/>
              </a:solidFill>
              <a:latin typeface="Raleway" panose="020B0503030101060003" pitchFamily="34" charset="-18"/>
            </a:endParaRPr>
          </a:p>
          <a:p>
            <a:pPr eaLnBrk="1" hangingPunct="1"/>
            <a:endParaRPr lang="sl-SI" altLang="sl-SI" sz="4000" dirty="0">
              <a:solidFill>
                <a:srgbClr val="000000"/>
              </a:solidFill>
              <a:latin typeface="Raleway" panose="020B0503030101060003" pitchFamily="34" charset="-18"/>
            </a:endParaRPr>
          </a:p>
          <a:p>
            <a:pPr eaLnBrk="1" hangingPunct="1"/>
            <a:r>
              <a:rPr lang="sl-SI" altLang="sl-SI" sz="4000" dirty="0">
                <a:solidFill>
                  <a:srgbClr val="000000"/>
                </a:solidFill>
                <a:latin typeface="Raleway" panose="020B0503030101060003" pitchFamily="34" charset="-18"/>
              </a:rPr>
              <a:t>.</a:t>
            </a:r>
            <a:endParaRPr lang="en-GB" altLang="sl-SI" sz="4000" dirty="0">
              <a:solidFill>
                <a:srgbClr val="000000"/>
              </a:solidFill>
              <a:latin typeface="Raleway" panose="020B0503030101060003" pitchFamily="34" charset="-18"/>
            </a:endParaRPr>
          </a:p>
        </p:txBody>
      </p:sp>
      <p:sp>
        <p:nvSpPr>
          <p:cNvPr id="12" name="Segnaposto testo 2">
            <a:extLst>
              <a:ext uri="{FF2B5EF4-FFF2-40B4-BE49-F238E27FC236}">
                <a16:creationId xmlns:a16="http://schemas.microsoft.com/office/drawing/2014/main" id="{27EE013E-23C9-9342-7AB5-6853EF9D20B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194050" y="549275"/>
            <a:ext cx="8986838" cy="469900"/>
          </a:xfrm>
        </p:spPr>
        <p:txBody>
          <a:bodyPr/>
          <a:lstStyle/>
          <a:p>
            <a:pPr defTabSz="914357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sl-SI" sz="3051" dirty="0">
                <a:solidFill>
                  <a:prstClr val="white"/>
                </a:solidFill>
              </a:rPr>
              <a:t>DESIGNED FOR YOU</a:t>
            </a:r>
            <a:endParaRPr lang="it-IT" sz="3051" dirty="0">
              <a:solidFill>
                <a:prstClr val="white"/>
              </a:solidFill>
            </a:endParaRPr>
          </a:p>
        </p:txBody>
      </p:sp>
      <p:pic>
        <p:nvPicPr>
          <p:cNvPr id="17" name="Slika 16">
            <a:extLst>
              <a:ext uri="{FF2B5EF4-FFF2-40B4-BE49-F238E27FC236}">
                <a16:creationId xmlns:a16="http://schemas.microsoft.com/office/drawing/2014/main" id="{4067DFC2-559B-4D4D-5771-FCC861B4BDE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957050" y="2378075"/>
            <a:ext cx="7162800" cy="7742928"/>
          </a:xfrm>
          <a:prstGeom prst="rect">
            <a:avLst/>
          </a:prstGeom>
        </p:spPr>
      </p:pic>
      <p:sp>
        <p:nvSpPr>
          <p:cNvPr id="3" name="Segnaposto testo 1">
            <a:extLst>
              <a:ext uri="{FF2B5EF4-FFF2-40B4-BE49-F238E27FC236}">
                <a16:creationId xmlns:a16="http://schemas.microsoft.com/office/drawing/2014/main" id="{07740B4B-87D2-2A3D-8981-8ED8CB6A3DB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82084" y="585267"/>
            <a:ext cx="7173008" cy="400110"/>
          </a:xfrm>
        </p:spPr>
        <p:txBody>
          <a:bodyPr/>
          <a:lstStyle/>
          <a:p>
            <a:r>
              <a:rPr lang="it-IT" dirty="0"/>
              <a:t>A</a:t>
            </a:r>
            <a:r>
              <a:rPr lang="sl-SI" dirty="0"/>
              <a:t>VIVA LITE</a:t>
            </a:r>
            <a:endParaRPr lang="it-IT" dirty="0">
              <a:solidFill>
                <a:srgbClr val="FFC000"/>
              </a:solidFill>
            </a:endParaRPr>
          </a:p>
        </p:txBody>
      </p:sp>
      <p:pic>
        <p:nvPicPr>
          <p:cNvPr id="4" name="Picture 2">
            <a:extLst>
              <a:ext uri="{FF2B5EF4-FFF2-40B4-BE49-F238E27FC236}">
                <a16:creationId xmlns:a16="http://schemas.microsoft.com/office/drawing/2014/main" id="{B030900A-12ED-31AA-ECC7-D9AE9926631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99250" y="7493"/>
            <a:ext cx="1676400" cy="16847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95178605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Slika 5">
            <a:extLst>
              <a:ext uri="{FF2B5EF4-FFF2-40B4-BE49-F238E27FC236}">
                <a16:creationId xmlns:a16="http://schemas.microsoft.com/office/drawing/2014/main" id="{58B98144-4133-9E84-1FDA-36D6D0B02458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8093"/>
          <a:stretch/>
        </p:blipFill>
        <p:spPr>
          <a:xfrm>
            <a:off x="736760" y="2159598"/>
            <a:ext cx="5694638" cy="3349106"/>
          </a:xfrm>
          <a:prstGeom prst="rect">
            <a:avLst/>
          </a:prstGeom>
        </p:spPr>
      </p:pic>
      <p:graphicFrame>
        <p:nvGraphicFramePr>
          <p:cNvPr id="5" name="Predmet 4" hidden="1">
            <a:extLst>
              <a:ext uri="{FF2B5EF4-FFF2-40B4-BE49-F238E27FC236}">
                <a16:creationId xmlns:a16="http://schemas.microsoft.com/office/drawing/2014/main" id="{C61C985F-23EE-C11B-FB83-116931FD8D5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5" name="Predmet 4" hidden="1">
                        <a:extLst>
                          <a:ext uri="{FF2B5EF4-FFF2-40B4-BE49-F238E27FC236}">
                            <a16:creationId xmlns:a16="http://schemas.microsoft.com/office/drawing/2014/main" id="{C61C985F-23EE-C11B-FB83-116931FD8D5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egnaposto testo 1">
            <a:extLst>
              <a:ext uri="{FF2B5EF4-FFF2-40B4-BE49-F238E27FC236}">
                <a16:creationId xmlns:a16="http://schemas.microsoft.com/office/drawing/2014/main" id="{4DED9CBD-057B-6FBB-503C-5EAC8E3D9C9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80109" y="584472"/>
            <a:ext cx="2655702" cy="400194"/>
          </a:xfrm>
        </p:spPr>
        <p:txBody>
          <a:bodyPr/>
          <a:lstStyle/>
          <a:p>
            <a:r>
              <a:rPr lang="it-IT" dirty="0"/>
              <a:t>A</a:t>
            </a:r>
            <a:r>
              <a:rPr lang="sl-SI" dirty="0"/>
              <a:t>VIVA LITE</a:t>
            </a:r>
            <a:endParaRPr lang="it-IT" dirty="0">
              <a:solidFill>
                <a:srgbClr val="FFC000"/>
              </a:solidFill>
            </a:endParaRPr>
          </a:p>
        </p:txBody>
      </p:sp>
      <p:sp>
        <p:nvSpPr>
          <p:cNvPr id="45" name="PoljeZBesedilom 44">
            <a:extLst>
              <a:ext uri="{FF2B5EF4-FFF2-40B4-BE49-F238E27FC236}">
                <a16:creationId xmlns:a16="http://schemas.microsoft.com/office/drawing/2014/main" id="{C2FD2323-D3F5-46C9-B96A-BCB40D5AF56A}"/>
              </a:ext>
            </a:extLst>
          </p:cNvPr>
          <p:cNvSpPr txBox="1"/>
          <p:nvPr/>
        </p:nvSpPr>
        <p:spPr>
          <a:xfrm>
            <a:off x="1418251" y="1907407"/>
            <a:ext cx="2396490" cy="369204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spAutoFit/>
          </a:bodyPr>
          <a:lstStyle/>
          <a:p>
            <a:r>
              <a:rPr lang="sl-SI" sz="2399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VIVA LITE  </a:t>
            </a:r>
            <a:r>
              <a:rPr lang="sl-SI" sz="2399" b="1" dirty="0"/>
              <a:t>300 LH</a:t>
            </a:r>
            <a:endParaRPr lang="en-GB" sz="2399" b="1" dirty="0"/>
          </a:p>
        </p:txBody>
      </p:sp>
      <p:sp>
        <p:nvSpPr>
          <p:cNvPr id="8" name="TextBox 4">
            <a:extLst>
              <a:ext uri="{FF2B5EF4-FFF2-40B4-BE49-F238E27FC236}">
                <a16:creationId xmlns:a16="http://schemas.microsoft.com/office/drawing/2014/main" id="{9436D381-E22F-8904-FD6F-0F7CB1FF7A81}"/>
              </a:ext>
            </a:extLst>
          </p:cNvPr>
          <p:cNvSpPr txBox="1"/>
          <p:nvPr/>
        </p:nvSpPr>
        <p:spPr>
          <a:xfrm>
            <a:off x="580878" y="5800646"/>
            <a:ext cx="9471172" cy="38164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914357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sl-SI" sz="2400" b="1" dirty="0">
                <a:latin typeface="Raleway" pitchFamily="2" charset="-18"/>
              </a:rPr>
              <a:t>DESCRIPTION</a:t>
            </a:r>
          </a:p>
          <a:p>
            <a:pPr marL="471202" indent="-471202" defTabSz="914357" eaLnBrk="1" fontAlgn="auto" hangingPunct="1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/>
            </a:pPr>
            <a:endParaRPr lang="sl-SI" sz="2400" b="1" dirty="0">
              <a:latin typeface="Raleway" pitchFamily="2" charset="-18"/>
            </a:endParaRPr>
          </a:p>
          <a:p>
            <a:pPr marL="471202" indent="-471202" defTabSz="914357" eaLnBrk="1" fontAlgn="auto" hangingPunct="1">
              <a:spcBef>
                <a:spcPts val="0"/>
              </a:spcBef>
              <a:spcAft>
                <a:spcPts val="1200"/>
              </a:spcAft>
              <a:buFont typeface="+mj-lt"/>
              <a:buAutoNum type="arabicPeriod"/>
              <a:defRPr/>
            </a:pPr>
            <a:r>
              <a:rPr lang="sl-SI" sz="2400" dirty="0">
                <a:latin typeface="Raleway" pitchFamily="2" charset="-18"/>
                <a:cs typeface="Arial" panose="020B0604020202020204" pitchFamily="34" charset="0"/>
              </a:rPr>
              <a:t>͏</a:t>
            </a:r>
            <a:r>
              <a:rPr lang="sl-SI" sz="2400" dirty="0">
                <a:latin typeface="Raleway" pitchFamily="2" charset="-18"/>
              </a:rPr>
              <a:t>Front </a:t>
            </a:r>
            <a:r>
              <a:rPr lang="sl-SI" sz="2400" b="1" dirty="0" err="1">
                <a:latin typeface="Raleway" pitchFamily="2" charset="-18"/>
              </a:rPr>
              <a:t>full</a:t>
            </a:r>
            <a:r>
              <a:rPr lang="sl-SI" sz="2400" b="1" dirty="0">
                <a:latin typeface="Raleway" pitchFamily="2" charset="-18"/>
              </a:rPr>
              <a:t> </a:t>
            </a:r>
            <a:r>
              <a:rPr lang="sl-SI" sz="2400" b="1" dirty="0" err="1">
                <a:latin typeface="Raleway" pitchFamily="2" charset="-18"/>
              </a:rPr>
              <a:t>length</a:t>
            </a:r>
            <a:r>
              <a:rPr lang="sl-SI" sz="2400" b="1" dirty="0">
                <a:latin typeface="Raleway" pitchFamily="2" charset="-18"/>
              </a:rPr>
              <a:t> bed.</a:t>
            </a:r>
          </a:p>
          <a:p>
            <a:pPr marL="471202" indent="-471202" defTabSz="914357" eaLnBrk="1" fontAlgn="auto" hangingPunct="1">
              <a:spcBef>
                <a:spcPts val="0"/>
              </a:spcBef>
              <a:spcAft>
                <a:spcPts val="1200"/>
              </a:spcAft>
              <a:buFont typeface="+mj-lt"/>
              <a:buAutoNum type="arabicPeriod"/>
              <a:defRPr/>
            </a:pPr>
            <a:r>
              <a:rPr lang="sl-SI" sz="2400" dirty="0">
                <a:latin typeface="Raleway" pitchFamily="2" charset="-18"/>
                <a:cs typeface="Arial" panose="020B0604020202020204" pitchFamily="34" charset="0"/>
              </a:rPr>
              <a:t>͏</a:t>
            </a:r>
            <a:r>
              <a:rPr lang="sl-SI" sz="2400" b="1" dirty="0" err="1">
                <a:latin typeface="Raleway" pitchFamily="2" charset="-18"/>
              </a:rPr>
              <a:t>Rear</a:t>
            </a:r>
            <a:r>
              <a:rPr lang="sl-SI" sz="2400" b="1" dirty="0">
                <a:latin typeface="Raleway" pitchFamily="2" charset="-18"/>
              </a:rPr>
              <a:t> panorama </a:t>
            </a:r>
            <a:r>
              <a:rPr lang="sl-SI" sz="2400" b="1" dirty="0" err="1">
                <a:latin typeface="Raleway" pitchFamily="2" charset="-18"/>
              </a:rPr>
              <a:t>window</a:t>
            </a:r>
            <a:r>
              <a:rPr lang="sl-SI" sz="2400" b="1" dirty="0">
                <a:latin typeface="Raleway" pitchFamily="2" charset="-18"/>
              </a:rPr>
              <a:t> </a:t>
            </a:r>
            <a:r>
              <a:rPr lang="sl-SI" sz="2400" b="1" dirty="0" err="1">
                <a:latin typeface="Raleway" pitchFamily="2" charset="-18"/>
              </a:rPr>
              <a:t>of</a:t>
            </a:r>
            <a:r>
              <a:rPr lang="sl-SI" sz="2400" b="1" dirty="0">
                <a:latin typeface="Raleway" pitchFamily="2" charset="-18"/>
              </a:rPr>
              <a:t> 1600mm.</a:t>
            </a:r>
          </a:p>
          <a:p>
            <a:pPr marL="471202" indent="-471202" defTabSz="914357" eaLnBrk="1" fontAlgn="auto" hangingPunct="1">
              <a:spcBef>
                <a:spcPts val="0"/>
              </a:spcBef>
              <a:spcAft>
                <a:spcPts val="1200"/>
              </a:spcAft>
              <a:buFont typeface="+mj-lt"/>
              <a:buAutoNum type="arabicPeriod"/>
              <a:defRPr/>
            </a:pPr>
            <a:r>
              <a:rPr lang="sl-SI" sz="2400" dirty="0">
                <a:latin typeface="Raleway" pitchFamily="2" charset="-18"/>
                <a:cs typeface="Arial" panose="020B0604020202020204" pitchFamily="34" charset="0"/>
              </a:rPr>
              <a:t>͏</a:t>
            </a:r>
            <a:r>
              <a:rPr lang="sl-SI" sz="2400" b="1" dirty="0" err="1">
                <a:latin typeface="Raleway" pitchFamily="2" charset="-18"/>
              </a:rPr>
              <a:t>Compact</a:t>
            </a:r>
            <a:r>
              <a:rPr lang="sl-SI" sz="2400" b="1" dirty="0">
                <a:latin typeface="Raleway" pitchFamily="2" charset="-18"/>
              </a:rPr>
              <a:t> </a:t>
            </a:r>
            <a:r>
              <a:rPr lang="sl-SI" sz="2400" b="1" dirty="0" err="1">
                <a:latin typeface="Raleway" pitchFamily="2" charset="-18"/>
              </a:rPr>
              <a:t>kitchen</a:t>
            </a:r>
            <a:r>
              <a:rPr lang="sl-SI" sz="2400" dirty="0">
                <a:latin typeface="Raleway" pitchFamily="2" charset="-18"/>
              </a:rPr>
              <a:t> </a:t>
            </a:r>
          </a:p>
          <a:p>
            <a:pPr marL="471202" indent="-471202" defTabSz="914357" eaLnBrk="1" fontAlgn="auto" hangingPunct="1">
              <a:spcBef>
                <a:spcPts val="0"/>
              </a:spcBef>
              <a:spcAft>
                <a:spcPts val="1200"/>
              </a:spcAft>
              <a:buFont typeface="+mj-lt"/>
              <a:buAutoNum type="arabicPeriod"/>
              <a:defRPr/>
            </a:pPr>
            <a:r>
              <a:rPr lang="sl-SI" sz="2400" dirty="0">
                <a:latin typeface="Raleway" pitchFamily="2" charset="-18"/>
                <a:cs typeface="Arial" panose="020B0604020202020204" pitchFamily="34" charset="0"/>
              </a:rPr>
              <a:t>͏</a:t>
            </a:r>
            <a:r>
              <a:rPr lang="sl-SI" sz="2400" b="1" dirty="0" err="1">
                <a:latin typeface="Raleway" pitchFamily="2" charset="-18"/>
              </a:rPr>
              <a:t>dinette</a:t>
            </a:r>
            <a:r>
              <a:rPr lang="sl-SI" sz="2400" b="1" dirty="0">
                <a:latin typeface="Raleway" pitchFamily="2" charset="-18"/>
              </a:rPr>
              <a:t> + </a:t>
            </a:r>
            <a:r>
              <a:rPr lang="sl-SI" sz="2400" b="1" dirty="0" err="1">
                <a:latin typeface="Raleway" pitchFamily="2" charset="-18"/>
              </a:rPr>
              <a:t>day</a:t>
            </a:r>
            <a:r>
              <a:rPr lang="sl-SI" sz="2400" b="1" dirty="0">
                <a:latin typeface="Raleway" pitchFamily="2" charset="-18"/>
              </a:rPr>
              <a:t> bed</a:t>
            </a:r>
            <a:endParaRPr lang="sl-SI" sz="2400" dirty="0">
              <a:latin typeface="Raleway" pitchFamily="2" charset="-18"/>
            </a:endParaRPr>
          </a:p>
          <a:p>
            <a:pPr marL="471202" indent="-471202" defTabSz="914357" eaLnBrk="1" fontAlgn="auto" hangingPunct="1">
              <a:spcBef>
                <a:spcPts val="0"/>
              </a:spcBef>
              <a:spcAft>
                <a:spcPts val="1200"/>
              </a:spcAft>
              <a:buFont typeface="+mj-lt"/>
              <a:buAutoNum type="arabicPeriod"/>
              <a:defRPr/>
            </a:pPr>
            <a:r>
              <a:rPr lang="sl-SI" sz="2400" dirty="0">
                <a:latin typeface="Raleway" pitchFamily="2" charset="-18"/>
                <a:cs typeface="Arial" panose="020B0604020202020204" pitchFamily="34" charset="0"/>
              </a:rPr>
              <a:t>͏</a:t>
            </a:r>
            <a:r>
              <a:rPr lang="sl-SI" sz="2400" b="1" dirty="0" err="1">
                <a:latin typeface="Raleway" pitchFamily="2" charset="-18"/>
              </a:rPr>
              <a:t>additional</a:t>
            </a:r>
            <a:r>
              <a:rPr lang="sl-SI" sz="2400" b="1" dirty="0">
                <a:latin typeface="Raleway" pitchFamily="2" charset="-18"/>
              </a:rPr>
              <a:t> </a:t>
            </a:r>
            <a:r>
              <a:rPr lang="sl-SI" sz="2400" b="1" dirty="0" err="1">
                <a:latin typeface="Raleway" pitchFamily="2" charset="-18"/>
              </a:rPr>
              <a:t>hammock</a:t>
            </a:r>
            <a:r>
              <a:rPr lang="sl-SI" sz="2400" b="1" dirty="0">
                <a:latin typeface="Raleway" pitchFamily="2" charset="-18"/>
              </a:rPr>
              <a:t> bed.</a:t>
            </a:r>
            <a:endParaRPr lang="sl-SI" sz="2400" dirty="0">
              <a:latin typeface="Raleway" pitchFamily="2" charset="-18"/>
            </a:endParaRPr>
          </a:p>
          <a:p>
            <a:pPr marL="471202" indent="-471202" defTabSz="914357" eaLnBrk="1" fontAlgn="auto" hangingPunct="1">
              <a:spcBef>
                <a:spcPts val="0"/>
              </a:spcBef>
              <a:spcAft>
                <a:spcPts val="1200"/>
              </a:spcAft>
              <a:buFont typeface="+mj-lt"/>
              <a:buAutoNum type="arabicPeriod"/>
              <a:defRPr/>
            </a:pPr>
            <a:r>
              <a:rPr lang="sl-SI" sz="2400" dirty="0" err="1">
                <a:latin typeface="Raleway" pitchFamily="2" charset="-18"/>
              </a:rPr>
              <a:t>Compact</a:t>
            </a:r>
            <a:r>
              <a:rPr lang="sl-SI" sz="2400" dirty="0">
                <a:latin typeface="Raleway" pitchFamily="2" charset="-18"/>
              </a:rPr>
              <a:t> </a:t>
            </a:r>
            <a:r>
              <a:rPr lang="sl-SI" sz="2400" dirty="0" err="1">
                <a:latin typeface="Raleway" pitchFamily="2" charset="-18"/>
              </a:rPr>
              <a:t>layout</a:t>
            </a:r>
            <a:r>
              <a:rPr lang="sl-SI" sz="2400" dirty="0">
                <a:latin typeface="Raleway" pitchFamily="2" charset="-18"/>
              </a:rPr>
              <a:t> </a:t>
            </a:r>
            <a:r>
              <a:rPr lang="sl-SI" sz="2400" dirty="0" err="1">
                <a:latin typeface="Raleway" pitchFamily="2" charset="-18"/>
              </a:rPr>
              <a:t>for</a:t>
            </a:r>
            <a:r>
              <a:rPr lang="sl-SI" sz="2400" dirty="0">
                <a:latin typeface="Raleway" pitchFamily="2" charset="-18"/>
              </a:rPr>
              <a:t> two+1 </a:t>
            </a:r>
            <a:r>
              <a:rPr lang="sl-SI" sz="2400" dirty="0" err="1">
                <a:latin typeface="Raleway" pitchFamily="2" charset="-18"/>
              </a:rPr>
              <a:t>with</a:t>
            </a:r>
            <a:r>
              <a:rPr lang="sl-SI" sz="2400" dirty="0">
                <a:latin typeface="Raleway" pitchFamily="2" charset="-18"/>
              </a:rPr>
              <a:t> </a:t>
            </a:r>
            <a:r>
              <a:rPr lang="sl-SI" sz="2400" b="1" dirty="0" err="1">
                <a:latin typeface="Raleway" pitchFamily="2" charset="-18"/>
              </a:rPr>
              <a:t>extra</a:t>
            </a:r>
            <a:r>
              <a:rPr lang="sl-SI" sz="2400" b="1" dirty="0">
                <a:latin typeface="Raleway" pitchFamily="2" charset="-18"/>
              </a:rPr>
              <a:t> </a:t>
            </a:r>
            <a:r>
              <a:rPr lang="sl-SI" sz="2400" b="1" dirty="0" err="1">
                <a:latin typeface="Raleway" pitchFamily="2" charset="-18"/>
              </a:rPr>
              <a:t>storage</a:t>
            </a:r>
            <a:r>
              <a:rPr lang="sl-SI" sz="2400" b="1" dirty="0">
                <a:latin typeface="Raleway" pitchFamily="2" charset="-18"/>
              </a:rPr>
              <a:t> </a:t>
            </a:r>
            <a:r>
              <a:rPr lang="sl-SI" sz="2400" b="1" dirty="0" err="1">
                <a:latin typeface="Raleway" pitchFamily="2" charset="-18"/>
              </a:rPr>
              <a:t>while</a:t>
            </a:r>
            <a:r>
              <a:rPr lang="sl-SI" sz="2400" b="1" dirty="0">
                <a:latin typeface="Raleway" pitchFamily="2" charset="-18"/>
              </a:rPr>
              <a:t> </a:t>
            </a:r>
            <a:r>
              <a:rPr lang="sl-SI" sz="2400" b="1" dirty="0" err="1">
                <a:latin typeface="Raleway" pitchFamily="2" charset="-18"/>
              </a:rPr>
              <a:t>driving</a:t>
            </a:r>
            <a:r>
              <a:rPr lang="sl-SI" sz="2400" dirty="0">
                <a:latin typeface="Raleway" pitchFamily="2" charset="-18"/>
              </a:rPr>
              <a:t>.</a:t>
            </a:r>
          </a:p>
        </p:txBody>
      </p:sp>
      <p:grpSp>
        <p:nvGrpSpPr>
          <p:cNvPr id="9" name="Skupina 8">
            <a:extLst>
              <a:ext uri="{FF2B5EF4-FFF2-40B4-BE49-F238E27FC236}">
                <a16:creationId xmlns:a16="http://schemas.microsoft.com/office/drawing/2014/main" id="{39136007-B909-BE0D-1748-D0DBD9CB0C99}"/>
              </a:ext>
            </a:extLst>
          </p:cNvPr>
          <p:cNvGrpSpPr/>
          <p:nvPr/>
        </p:nvGrpSpPr>
        <p:grpSpPr>
          <a:xfrm>
            <a:off x="11274351" y="5781113"/>
            <a:ext cx="6169099" cy="2746758"/>
            <a:chOff x="11274351" y="5396442"/>
            <a:chExt cx="6169099" cy="2746758"/>
          </a:xfrm>
        </p:grpSpPr>
        <p:sp>
          <p:nvSpPr>
            <p:cNvPr id="10" name="TextBox 4">
              <a:extLst>
                <a:ext uri="{FF2B5EF4-FFF2-40B4-BE49-F238E27FC236}">
                  <a16:creationId xmlns:a16="http://schemas.microsoft.com/office/drawing/2014/main" id="{5C79D505-7BB4-DBB3-BBDD-841BF08DA64B}"/>
                </a:ext>
              </a:extLst>
            </p:cNvPr>
            <p:cNvSpPr txBox="1"/>
            <p:nvPr/>
          </p:nvSpPr>
          <p:spPr>
            <a:xfrm>
              <a:off x="11274351" y="5396442"/>
              <a:ext cx="6169099" cy="46166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defTabSz="91435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sl-SI" sz="2400" b="1" dirty="0">
                  <a:latin typeface="Raleway" pitchFamily="2" charset="-18"/>
                </a:rPr>
                <a:t>DIMENSIONS</a:t>
              </a:r>
            </a:p>
          </p:txBody>
        </p:sp>
        <p:grpSp>
          <p:nvGrpSpPr>
            <p:cNvPr id="11" name="Skupina 10">
              <a:extLst>
                <a:ext uri="{FF2B5EF4-FFF2-40B4-BE49-F238E27FC236}">
                  <a16:creationId xmlns:a16="http://schemas.microsoft.com/office/drawing/2014/main" id="{434038B2-D924-F26C-D6E3-267A56EB7098}"/>
                </a:ext>
              </a:extLst>
            </p:cNvPr>
            <p:cNvGrpSpPr/>
            <p:nvPr/>
          </p:nvGrpSpPr>
          <p:grpSpPr>
            <a:xfrm>
              <a:off x="11438461" y="6108472"/>
              <a:ext cx="4633389" cy="2034728"/>
              <a:chOff x="11283241" y="6108472"/>
              <a:chExt cx="4633389" cy="2034728"/>
            </a:xfrm>
          </p:grpSpPr>
          <p:sp>
            <p:nvSpPr>
              <p:cNvPr id="12" name="TextBox 4">
                <a:extLst>
                  <a:ext uri="{FF2B5EF4-FFF2-40B4-BE49-F238E27FC236}">
                    <a16:creationId xmlns:a16="http://schemas.microsoft.com/office/drawing/2014/main" id="{196D76EA-02DB-6ED2-0526-823E9C70CC39}"/>
                  </a:ext>
                </a:extLst>
              </p:cNvPr>
              <p:cNvSpPr txBox="1"/>
              <p:nvPr/>
            </p:nvSpPr>
            <p:spPr>
              <a:xfrm>
                <a:off x="11283241" y="6111875"/>
                <a:ext cx="2807409" cy="2031325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defTabSz="914357" eaLnBrk="1" fontAlgn="auto" hangingPunct="1">
                  <a:spcBef>
                    <a:spcPts val="0"/>
                  </a:spcBef>
                  <a:spcAft>
                    <a:spcPts val="1200"/>
                  </a:spcAft>
                  <a:defRPr/>
                </a:pPr>
                <a:r>
                  <a:rPr lang="en-US" sz="2400" dirty="0">
                    <a:latin typeface="Raleway" pitchFamily="2" charset="-18"/>
                  </a:rPr>
                  <a:t>1. Total length: </a:t>
                </a:r>
              </a:p>
              <a:p>
                <a:pPr defTabSz="914357" eaLnBrk="1" fontAlgn="auto" hangingPunct="1">
                  <a:spcBef>
                    <a:spcPts val="0"/>
                  </a:spcBef>
                  <a:spcAft>
                    <a:spcPts val="1200"/>
                  </a:spcAft>
                  <a:defRPr/>
                </a:pPr>
                <a:r>
                  <a:rPr lang="en-US" sz="2400" dirty="0">
                    <a:latin typeface="Raleway" pitchFamily="2" charset="-18"/>
                  </a:rPr>
                  <a:t>2. Body lengths:</a:t>
                </a:r>
              </a:p>
              <a:p>
                <a:pPr defTabSz="914357" eaLnBrk="1" fontAlgn="auto" hangingPunct="1">
                  <a:spcBef>
                    <a:spcPts val="0"/>
                  </a:spcBef>
                  <a:spcAft>
                    <a:spcPts val="1200"/>
                  </a:spcAft>
                  <a:defRPr/>
                </a:pPr>
                <a:r>
                  <a:rPr lang="en-US" sz="2400" dirty="0">
                    <a:latin typeface="Raleway" pitchFamily="2" charset="-18"/>
                  </a:rPr>
                  <a:t>3. Total width:</a:t>
                </a:r>
              </a:p>
              <a:p>
                <a:pPr defTabSz="914357" eaLnBrk="1" fontAlgn="auto" hangingPunct="1">
                  <a:spcBef>
                    <a:spcPts val="0"/>
                  </a:spcBef>
                  <a:spcAft>
                    <a:spcPts val="1200"/>
                  </a:spcAft>
                  <a:defRPr/>
                </a:pPr>
                <a:r>
                  <a:rPr lang="en-US" sz="2400" dirty="0">
                    <a:latin typeface="Raleway" pitchFamily="2" charset="-18"/>
                  </a:rPr>
                  <a:t>4. Sleeping places:</a:t>
                </a:r>
              </a:p>
            </p:txBody>
          </p:sp>
          <p:sp>
            <p:nvSpPr>
              <p:cNvPr id="13" name="TextBox 4">
                <a:extLst>
                  <a:ext uri="{FF2B5EF4-FFF2-40B4-BE49-F238E27FC236}">
                    <a16:creationId xmlns:a16="http://schemas.microsoft.com/office/drawing/2014/main" id="{85A7AE56-28F1-B939-D8C0-061CE0484F58}"/>
                  </a:ext>
                </a:extLst>
              </p:cNvPr>
              <p:cNvSpPr txBox="1"/>
              <p:nvPr/>
            </p:nvSpPr>
            <p:spPr>
              <a:xfrm>
                <a:off x="13938250" y="6108472"/>
                <a:ext cx="1978380" cy="2031325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r" defTabSz="914357" eaLnBrk="1" fontAlgn="auto" hangingPunct="1">
                  <a:spcBef>
                    <a:spcPts val="0"/>
                  </a:spcBef>
                  <a:spcAft>
                    <a:spcPts val="1200"/>
                  </a:spcAft>
                  <a:defRPr/>
                </a:pPr>
                <a:r>
                  <a:rPr lang="sl-SI" sz="2400" dirty="0">
                    <a:latin typeface="Raleway" pitchFamily="2" charset="-18"/>
                  </a:rPr>
                  <a:t>4750  </a:t>
                </a:r>
                <a:r>
                  <a:rPr lang="en-US" sz="2400" dirty="0">
                    <a:latin typeface="Raleway" pitchFamily="2" charset="-18"/>
                  </a:rPr>
                  <a:t>mm</a:t>
                </a:r>
              </a:p>
              <a:p>
                <a:pPr algn="r" defTabSz="914357" eaLnBrk="1" fontAlgn="auto" hangingPunct="1">
                  <a:spcBef>
                    <a:spcPts val="0"/>
                  </a:spcBef>
                  <a:spcAft>
                    <a:spcPts val="1200"/>
                  </a:spcAft>
                  <a:defRPr/>
                </a:pPr>
                <a:r>
                  <a:rPr lang="sl-SI" sz="2400" dirty="0">
                    <a:latin typeface="Raleway" pitchFamily="2" charset="-18"/>
                  </a:rPr>
                  <a:t>3610  </a:t>
                </a:r>
                <a:r>
                  <a:rPr lang="en-US" sz="2400" dirty="0">
                    <a:latin typeface="Raleway" pitchFamily="2" charset="-18"/>
                  </a:rPr>
                  <a:t>mm</a:t>
                </a:r>
              </a:p>
              <a:p>
                <a:pPr algn="r" defTabSz="914357" eaLnBrk="1" fontAlgn="auto" hangingPunct="1">
                  <a:spcBef>
                    <a:spcPts val="0"/>
                  </a:spcBef>
                  <a:spcAft>
                    <a:spcPts val="1200"/>
                  </a:spcAft>
                  <a:defRPr/>
                </a:pPr>
                <a:r>
                  <a:rPr lang="en-US" sz="2400" dirty="0">
                    <a:latin typeface="Raleway" pitchFamily="2" charset="-18"/>
                  </a:rPr>
                  <a:t>2.</a:t>
                </a:r>
                <a:r>
                  <a:rPr lang="sl-SI" sz="2400" dirty="0">
                    <a:latin typeface="Raleway" pitchFamily="2" charset="-18"/>
                  </a:rPr>
                  <a:t>09</a:t>
                </a:r>
                <a:r>
                  <a:rPr lang="en-US" sz="2400" dirty="0">
                    <a:latin typeface="Raleway" pitchFamily="2" charset="-18"/>
                  </a:rPr>
                  <a:t>0 mm</a:t>
                </a:r>
              </a:p>
              <a:p>
                <a:pPr algn="r" defTabSz="914357" eaLnBrk="1" fontAlgn="auto" hangingPunct="1">
                  <a:spcBef>
                    <a:spcPts val="0"/>
                  </a:spcBef>
                  <a:spcAft>
                    <a:spcPts val="1200"/>
                  </a:spcAft>
                  <a:defRPr/>
                </a:pPr>
                <a:r>
                  <a:rPr lang="sl-SI" sz="2400" dirty="0">
                    <a:latin typeface="Raleway" pitchFamily="2" charset="-18"/>
                  </a:rPr>
                  <a:t>2+1 </a:t>
                </a:r>
                <a:r>
                  <a:rPr lang="en-US" sz="2400" dirty="0">
                    <a:latin typeface="Raleway" pitchFamily="2" charset="-18"/>
                  </a:rPr>
                  <a:t>berths</a:t>
                </a:r>
              </a:p>
            </p:txBody>
          </p:sp>
        </p:grpSp>
      </p:grpSp>
      <p:sp>
        <p:nvSpPr>
          <p:cNvPr id="7" name="Segnaposto testo 2">
            <a:extLst>
              <a:ext uri="{FF2B5EF4-FFF2-40B4-BE49-F238E27FC236}">
                <a16:creationId xmlns:a16="http://schemas.microsoft.com/office/drawing/2014/main" id="{CD82D26E-F06B-FCB7-B916-4E3B938EF94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194050" y="549275"/>
            <a:ext cx="8986838" cy="469900"/>
          </a:xfrm>
        </p:spPr>
        <p:txBody>
          <a:bodyPr/>
          <a:lstStyle/>
          <a:p>
            <a:pPr defTabSz="914357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sl-SI" sz="3051" dirty="0">
                <a:solidFill>
                  <a:prstClr val="white"/>
                </a:solidFill>
              </a:rPr>
              <a:t>DESIGNED FOR YOU</a:t>
            </a:r>
            <a:endParaRPr lang="it-IT" sz="3051" dirty="0">
              <a:solidFill>
                <a:prstClr val="white"/>
              </a:solidFill>
            </a:endParaRPr>
          </a:p>
        </p:txBody>
      </p:sp>
      <p:pic>
        <p:nvPicPr>
          <p:cNvPr id="14" name="Picture 2">
            <a:extLst>
              <a:ext uri="{FF2B5EF4-FFF2-40B4-BE49-F238E27FC236}">
                <a16:creationId xmlns:a16="http://schemas.microsoft.com/office/drawing/2014/main" id="{52E8B612-2934-FEBD-94A2-B376F9DC13A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99250" y="7493"/>
            <a:ext cx="1676400" cy="16847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0301875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testo 1">
            <a:extLst>
              <a:ext uri="{FF2B5EF4-FFF2-40B4-BE49-F238E27FC236}">
                <a16:creationId xmlns:a16="http://schemas.microsoft.com/office/drawing/2014/main" id="{D12E09D8-C352-623C-900F-0992F248EB5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80108" y="384460"/>
            <a:ext cx="3656942" cy="800219"/>
          </a:xfrm>
        </p:spPr>
        <p:txBody>
          <a:bodyPr/>
          <a:lstStyle/>
          <a:p>
            <a:r>
              <a:rPr lang="it-IT" dirty="0"/>
              <a:t>A</a:t>
            </a:r>
            <a:r>
              <a:rPr lang="sl-SI" dirty="0"/>
              <a:t>VIVA LITE</a:t>
            </a:r>
            <a:endParaRPr lang="it-IT" dirty="0">
              <a:solidFill>
                <a:srgbClr val="FFC000"/>
              </a:solidFill>
            </a:endParaRPr>
          </a:p>
        </p:txBody>
      </p:sp>
      <p:sp>
        <p:nvSpPr>
          <p:cNvPr id="4" name="Segnaposto testo 2">
            <a:extLst>
              <a:ext uri="{FF2B5EF4-FFF2-40B4-BE49-F238E27FC236}">
                <a16:creationId xmlns:a16="http://schemas.microsoft.com/office/drawing/2014/main" id="{874535D9-548D-FF4E-F75D-258214D9CF8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194050" y="549275"/>
            <a:ext cx="8986838" cy="469900"/>
          </a:xfrm>
        </p:spPr>
        <p:txBody>
          <a:bodyPr/>
          <a:lstStyle/>
          <a:p>
            <a:pPr defTabSz="914357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sl-SI" sz="3051" dirty="0">
                <a:solidFill>
                  <a:prstClr val="white"/>
                </a:solidFill>
              </a:rPr>
              <a:t>DESIGNED FOR YOU</a:t>
            </a:r>
            <a:endParaRPr lang="it-IT" sz="3051" dirty="0">
              <a:solidFill>
                <a:prstClr val="white"/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3E1F7D6-7156-C3FD-F22B-921B89B3130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9556" y="1654294"/>
            <a:ext cx="19035094" cy="107059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757274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4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0.xml><?xml version="1.0" encoding="utf-8"?>
<a:theme xmlns:a="http://schemas.openxmlformats.org/drawingml/2006/main" name="8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1.xml><?xml version="1.0" encoding="utf-8"?>
<a:theme xmlns:a="http://schemas.openxmlformats.org/drawingml/2006/main" name="10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6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7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9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3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Personalizza struttur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5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9.xml><?xml version="1.0" encoding="utf-8"?>
<a:theme xmlns:a="http://schemas.openxmlformats.org/drawingml/2006/main" name="2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1155</TotalTime>
  <Words>213</Words>
  <Application>Microsoft Office PowerPoint</Application>
  <PresentationFormat>Personalizado</PresentationFormat>
  <Paragraphs>43</Paragraphs>
  <Slides>6</Slides>
  <Notes>0</Notes>
  <HiddenSlides>0</HiddenSlides>
  <MMClips>0</MMClips>
  <ScaleCrop>false</ScaleCrop>
  <HeadingPairs>
    <vt:vector size="8" baseType="variant">
      <vt:variant>
        <vt:lpstr>Fuentes usadas</vt:lpstr>
      </vt:variant>
      <vt:variant>
        <vt:i4>9</vt:i4>
      </vt:variant>
      <vt:variant>
        <vt:lpstr>Tema</vt:lpstr>
      </vt:variant>
      <vt:variant>
        <vt:i4>11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6</vt:i4>
      </vt:variant>
    </vt:vector>
  </HeadingPairs>
  <TitlesOfParts>
    <vt:vector size="27" baseType="lpstr">
      <vt:lpstr>Arial</vt:lpstr>
      <vt:lpstr>Calibri</vt:lpstr>
      <vt:lpstr>Calibri Light</vt:lpstr>
      <vt:lpstr>Helvetica</vt:lpstr>
      <vt:lpstr>Helvetica Light</vt:lpstr>
      <vt:lpstr>Helvetica Neue</vt:lpstr>
      <vt:lpstr>HelveticaNeue-Light</vt:lpstr>
      <vt:lpstr>HelveticaNeueLT Pro 65 Md</vt:lpstr>
      <vt:lpstr>Raleway</vt:lpstr>
      <vt:lpstr>4_Office Theme</vt:lpstr>
      <vt:lpstr>6_Office Theme</vt:lpstr>
      <vt:lpstr>7_Office Theme</vt:lpstr>
      <vt:lpstr>1_Office Theme</vt:lpstr>
      <vt:lpstr>9_Office Theme</vt:lpstr>
      <vt:lpstr>3_Office Theme</vt:lpstr>
      <vt:lpstr>Personalizza struttura</vt:lpstr>
      <vt:lpstr>5_Office Theme</vt:lpstr>
      <vt:lpstr>2_Office Theme</vt:lpstr>
      <vt:lpstr>8_Office Theme</vt:lpstr>
      <vt:lpstr>10_Office Theme</vt:lpstr>
      <vt:lpstr>think-cell Slide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zione standard di PowerPoint</dc:title>
  <dc:creator>MORLEY NEIL</dc:creator>
  <cp:lastModifiedBy>Paco Jover · ADRIA DS</cp:lastModifiedBy>
  <cp:revision>268</cp:revision>
  <cp:lastPrinted>2023-03-24T10:57:07Z</cp:lastPrinted>
  <dcterms:created xsi:type="dcterms:W3CDTF">2022-11-28T13:20:58Z</dcterms:created>
  <dcterms:modified xsi:type="dcterms:W3CDTF">2024-06-26T09:39:2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reated">
    <vt:filetime>2022-11-28T00:00:00Z</vt:filetime>
  </property>
  <property fmtid="{D5CDD505-2E9C-101B-9397-08002B2CF9AE}" pid="3" name="Creator">
    <vt:lpwstr>Adobe InDesign 18.0 (Macintosh)</vt:lpwstr>
  </property>
  <property fmtid="{D5CDD505-2E9C-101B-9397-08002B2CF9AE}" pid="4" name="LastSaved">
    <vt:filetime>2022-11-28T00:00:00Z</vt:filetime>
  </property>
</Properties>
</file>